
<file path=[Content_Types].xml><?xml version="1.0" encoding="utf-8"?>
<Types xmlns="http://schemas.openxmlformats.org/package/2006/content-types">
  <Default Extension="1" ContentType="image/jpeg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1"/>
    <p:sldMasterId id="2147483678" r:id="rId2"/>
    <p:sldMasterId id="2147483666" r:id="rId3"/>
    <p:sldMasterId id="2147483690" r:id="rId4"/>
    <p:sldMasterId id="2147483699" r:id="rId5"/>
  </p:sldMasterIdLst>
  <p:notesMasterIdLst>
    <p:notesMasterId r:id="rId48"/>
  </p:notesMasterIdLst>
  <p:handoutMasterIdLst>
    <p:handoutMasterId r:id="rId49"/>
  </p:handoutMasterIdLst>
  <p:sldIdLst>
    <p:sldId id="256" r:id="rId6"/>
    <p:sldId id="266" r:id="rId7"/>
    <p:sldId id="284" r:id="rId8"/>
    <p:sldId id="275" r:id="rId9"/>
    <p:sldId id="286" r:id="rId10"/>
    <p:sldId id="287" r:id="rId11"/>
    <p:sldId id="285" r:id="rId12"/>
    <p:sldId id="557" r:id="rId13"/>
    <p:sldId id="558" r:id="rId14"/>
    <p:sldId id="274" r:id="rId15"/>
    <p:sldId id="559" r:id="rId16"/>
    <p:sldId id="560" r:id="rId17"/>
    <p:sldId id="276" r:id="rId18"/>
    <p:sldId id="261" r:id="rId19"/>
    <p:sldId id="262" r:id="rId20"/>
    <p:sldId id="288" r:id="rId21"/>
    <p:sldId id="259" r:id="rId22"/>
    <p:sldId id="263" r:id="rId23"/>
    <p:sldId id="264" r:id="rId24"/>
    <p:sldId id="265" r:id="rId25"/>
    <p:sldId id="260" r:id="rId26"/>
    <p:sldId id="283" r:id="rId27"/>
    <p:sldId id="280" r:id="rId28"/>
    <p:sldId id="289" r:id="rId29"/>
    <p:sldId id="290" r:id="rId30"/>
    <p:sldId id="291" r:id="rId31"/>
    <p:sldId id="292" r:id="rId32"/>
    <p:sldId id="293" r:id="rId33"/>
    <p:sldId id="282" r:id="rId34"/>
    <p:sldId id="294" r:id="rId35"/>
    <p:sldId id="547" r:id="rId36"/>
    <p:sldId id="281" r:id="rId37"/>
    <p:sldId id="545" r:id="rId38"/>
    <p:sldId id="551" r:id="rId39"/>
    <p:sldId id="552" r:id="rId40"/>
    <p:sldId id="550" r:id="rId41"/>
    <p:sldId id="553" r:id="rId42"/>
    <p:sldId id="546" r:id="rId43"/>
    <p:sldId id="554" r:id="rId44"/>
    <p:sldId id="555" r:id="rId45"/>
    <p:sldId id="548" r:id="rId46"/>
    <p:sldId id="556" r:id="rId47"/>
  </p:sldIdLst>
  <p:sldSz cx="12192000" cy="6858000"/>
  <p:notesSz cx="6858000" cy="9144000"/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C0E3563-C2AF-044A-8D9B-13463D2643B3}">
          <p14:sldIdLst>
            <p14:sldId id="256"/>
            <p14:sldId id="266"/>
            <p14:sldId id="284"/>
            <p14:sldId id="275"/>
            <p14:sldId id="286"/>
            <p14:sldId id="287"/>
            <p14:sldId id="285"/>
            <p14:sldId id="557"/>
            <p14:sldId id="558"/>
            <p14:sldId id="274"/>
            <p14:sldId id="559"/>
            <p14:sldId id="560"/>
            <p14:sldId id="276"/>
            <p14:sldId id="261"/>
            <p14:sldId id="262"/>
            <p14:sldId id="288"/>
            <p14:sldId id="259"/>
            <p14:sldId id="263"/>
            <p14:sldId id="264"/>
            <p14:sldId id="265"/>
            <p14:sldId id="260"/>
            <p14:sldId id="283"/>
            <p14:sldId id="280"/>
            <p14:sldId id="289"/>
            <p14:sldId id="290"/>
            <p14:sldId id="291"/>
            <p14:sldId id="292"/>
            <p14:sldId id="293"/>
            <p14:sldId id="282"/>
            <p14:sldId id="294"/>
            <p14:sldId id="547"/>
            <p14:sldId id="281"/>
            <p14:sldId id="545"/>
            <p14:sldId id="551"/>
            <p14:sldId id="552"/>
            <p14:sldId id="550"/>
            <p14:sldId id="553"/>
            <p14:sldId id="546"/>
            <p14:sldId id="554"/>
            <p14:sldId id="555"/>
            <p14:sldId id="548"/>
            <p14:sldId id="55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6618"/>
    <a:srgbClr val="D95E00"/>
    <a:srgbClr val="E46102"/>
    <a:srgbClr val="EEEEEE"/>
    <a:srgbClr val="EF6F2A"/>
    <a:srgbClr val="6869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9443"/>
  </p:normalViewPr>
  <p:slideViewPr>
    <p:cSldViewPr snapToGrid="0" snapToObjects="1">
      <p:cViewPr varScale="1">
        <p:scale>
          <a:sx n="70" d="100"/>
          <a:sy n="70" d="100"/>
        </p:scale>
        <p:origin x="738" y="6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06" d="100"/>
          <a:sy n="106" d="100"/>
        </p:scale>
        <p:origin x="4368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C9E676C-3BC2-0B4B-9BA2-C71F3E10E985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839C5B3E-E964-5040-A0CB-5B62DF03A70A}">
      <dgm:prSet phldrT="[Text]"/>
      <dgm:spPr>
        <a:solidFill>
          <a:schemeClr val="accent2"/>
        </a:solidFill>
      </dgm:spPr>
      <dgm:t>
        <a:bodyPr/>
        <a:lstStyle/>
        <a:p>
          <a:r>
            <a:rPr lang="en-US" dirty="0"/>
            <a:t>Normalize Ratings</a:t>
          </a:r>
        </a:p>
      </dgm:t>
    </dgm:pt>
    <dgm:pt modelId="{760127DC-FBA4-1C4F-9A64-720A5413F779}" type="parTrans" cxnId="{471D0FE6-C386-FD43-A0C4-C8193AB36AA1}">
      <dgm:prSet/>
      <dgm:spPr/>
      <dgm:t>
        <a:bodyPr/>
        <a:lstStyle/>
        <a:p>
          <a:endParaRPr lang="en-US"/>
        </a:p>
      </dgm:t>
    </dgm:pt>
    <dgm:pt modelId="{94EA5F54-7A6B-7544-9622-4D795ED73C0F}" type="sibTrans" cxnId="{471D0FE6-C386-FD43-A0C4-C8193AB36AA1}">
      <dgm:prSet/>
      <dgm:spPr/>
      <dgm:t>
        <a:bodyPr/>
        <a:lstStyle/>
        <a:p>
          <a:endParaRPr lang="en-US"/>
        </a:p>
      </dgm:t>
    </dgm:pt>
    <dgm:pt modelId="{043E227F-4E4A-8D4C-B32A-05E5DA88761D}">
      <dgm:prSet phldrT="[Text]"/>
      <dgm:spPr>
        <a:solidFill>
          <a:schemeClr val="accent2"/>
        </a:solidFill>
      </dgm:spPr>
      <dgm:t>
        <a:bodyPr/>
        <a:lstStyle/>
        <a:p>
          <a:r>
            <a:rPr lang="en-US" dirty="0"/>
            <a:t>Make Predictions</a:t>
          </a:r>
        </a:p>
      </dgm:t>
    </dgm:pt>
    <dgm:pt modelId="{D730749E-63A6-0C48-BAB8-45B298A85473}" type="parTrans" cxnId="{A294AA8C-CB8F-DB4C-862E-38B46AAD7D64}">
      <dgm:prSet/>
      <dgm:spPr/>
      <dgm:t>
        <a:bodyPr/>
        <a:lstStyle/>
        <a:p>
          <a:endParaRPr lang="en-US"/>
        </a:p>
      </dgm:t>
    </dgm:pt>
    <dgm:pt modelId="{B9DB1456-1F4E-644A-A671-5E17854D428F}" type="sibTrans" cxnId="{A294AA8C-CB8F-DB4C-862E-38B46AAD7D64}">
      <dgm:prSet/>
      <dgm:spPr/>
      <dgm:t>
        <a:bodyPr/>
        <a:lstStyle/>
        <a:p>
          <a:endParaRPr lang="en-US"/>
        </a:p>
      </dgm:t>
    </dgm:pt>
    <dgm:pt modelId="{5AF52E67-3CE9-D34C-9B90-01CA62AB6044}">
      <dgm:prSet/>
      <dgm:spPr>
        <a:solidFill>
          <a:schemeClr val="accent2"/>
        </a:solidFill>
      </dgm:spPr>
      <dgm:t>
        <a:bodyPr/>
        <a:lstStyle/>
        <a:p>
          <a:r>
            <a:rPr lang="en-US" dirty="0"/>
            <a:t>Create the user profile </a:t>
          </a:r>
        </a:p>
      </dgm:t>
    </dgm:pt>
    <dgm:pt modelId="{86D15F81-E6F0-0749-8B08-1B89D496A1A3}" type="parTrans" cxnId="{3D278D12-3F85-4E40-944B-CBE0E67E41B1}">
      <dgm:prSet/>
      <dgm:spPr/>
      <dgm:t>
        <a:bodyPr/>
        <a:lstStyle/>
        <a:p>
          <a:endParaRPr lang="en-US"/>
        </a:p>
      </dgm:t>
    </dgm:pt>
    <dgm:pt modelId="{3FC41CCC-F223-4742-801D-1480B638A21A}" type="sibTrans" cxnId="{3D278D12-3F85-4E40-944B-CBE0E67E41B1}">
      <dgm:prSet/>
      <dgm:spPr/>
      <dgm:t>
        <a:bodyPr/>
        <a:lstStyle/>
        <a:p>
          <a:endParaRPr lang="en-US"/>
        </a:p>
      </dgm:t>
    </dgm:pt>
    <dgm:pt modelId="{2D217AB3-B6BB-BB49-9C66-CF7D389DCD2D}">
      <dgm:prSet phldrT="[Text]"/>
      <dgm:spPr>
        <a:solidFill>
          <a:schemeClr val="accent2"/>
        </a:solidFill>
      </dgm:spPr>
      <dgm:t>
        <a:bodyPr/>
        <a:lstStyle/>
        <a:p>
          <a:r>
            <a:rPr lang="en-US" dirty="0"/>
            <a:t>Recommendation</a:t>
          </a:r>
        </a:p>
      </dgm:t>
    </dgm:pt>
    <dgm:pt modelId="{0F7E0CEB-1E34-9140-814F-EE21216A97A5}" type="parTrans" cxnId="{A2CF97E6-715C-8747-B183-39E2A33FEEA3}">
      <dgm:prSet/>
      <dgm:spPr/>
      <dgm:t>
        <a:bodyPr/>
        <a:lstStyle/>
        <a:p>
          <a:endParaRPr lang="en-US"/>
        </a:p>
      </dgm:t>
    </dgm:pt>
    <dgm:pt modelId="{FD872547-9513-8540-AE47-D16FB54B2FD1}" type="sibTrans" cxnId="{A2CF97E6-715C-8747-B183-39E2A33FEEA3}">
      <dgm:prSet/>
      <dgm:spPr/>
      <dgm:t>
        <a:bodyPr/>
        <a:lstStyle/>
        <a:p>
          <a:endParaRPr lang="en-US"/>
        </a:p>
      </dgm:t>
    </dgm:pt>
    <dgm:pt modelId="{8C755B84-6270-C043-9313-67CE1230113E}">
      <dgm:prSet/>
      <dgm:spPr>
        <a:solidFill>
          <a:schemeClr val="accent2"/>
        </a:solidFill>
      </dgm:spPr>
      <dgm:t>
        <a:bodyPr/>
        <a:lstStyle/>
        <a:p>
          <a:r>
            <a:rPr lang="en-US" dirty="0"/>
            <a:t>Create the item profile</a:t>
          </a:r>
        </a:p>
      </dgm:t>
    </dgm:pt>
    <dgm:pt modelId="{DA0A29CE-9CD5-9E42-B0C3-5C3F2E0728C9}" type="sibTrans" cxnId="{E7918F04-9EDE-DE4D-8664-B61EB1488376}">
      <dgm:prSet/>
      <dgm:spPr/>
      <dgm:t>
        <a:bodyPr/>
        <a:lstStyle/>
        <a:p>
          <a:endParaRPr lang="en-US"/>
        </a:p>
      </dgm:t>
    </dgm:pt>
    <dgm:pt modelId="{EE9967A7-0C6B-4A4E-8CEA-66A186E6E6FD}" type="parTrans" cxnId="{E7918F04-9EDE-DE4D-8664-B61EB1488376}">
      <dgm:prSet/>
      <dgm:spPr/>
      <dgm:t>
        <a:bodyPr/>
        <a:lstStyle/>
        <a:p>
          <a:endParaRPr lang="en-US"/>
        </a:p>
      </dgm:t>
    </dgm:pt>
    <dgm:pt modelId="{6E82AEEB-D3E1-2146-8F7A-2D8280FDE57F}" type="pres">
      <dgm:prSet presAssocID="{7C9E676C-3BC2-0B4B-9BA2-C71F3E10E985}" presName="Name0" presStyleCnt="0">
        <dgm:presLayoutVars>
          <dgm:dir/>
          <dgm:resizeHandles val="exact"/>
        </dgm:presLayoutVars>
      </dgm:prSet>
      <dgm:spPr/>
    </dgm:pt>
    <dgm:pt modelId="{4B1B3BE1-1C7D-554A-BAA3-D5AE74C7A792}" type="pres">
      <dgm:prSet presAssocID="{8C755B84-6270-C043-9313-67CE1230113E}" presName="parTxOnly" presStyleLbl="node1" presStyleIdx="0" presStyleCnt="5" custScaleY="106222">
        <dgm:presLayoutVars>
          <dgm:bulletEnabled val="1"/>
        </dgm:presLayoutVars>
      </dgm:prSet>
      <dgm:spPr/>
    </dgm:pt>
    <dgm:pt modelId="{A5A9B69C-AF1E-3E40-800F-A362DD7F924D}" type="pres">
      <dgm:prSet presAssocID="{DA0A29CE-9CD5-9E42-B0C3-5C3F2E0728C9}" presName="parSpace" presStyleCnt="0"/>
      <dgm:spPr/>
    </dgm:pt>
    <dgm:pt modelId="{CA708076-D827-8D47-AB12-416B1ABE08BE}" type="pres">
      <dgm:prSet presAssocID="{5AF52E67-3CE9-D34C-9B90-01CA62AB6044}" presName="parTxOnly" presStyleLbl="node1" presStyleIdx="1" presStyleCnt="5" custScaleY="106222">
        <dgm:presLayoutVars>
          <dgm:bulletEnabled val="1"/>
        </dgm:presLayoutVars>
      </dgm:prSet>
      <dgm:spPr/>
    </dgm:pt>
    <dgm:pt modelId="{F547E683-5DC2-6840-9309-1D1F0DC17DBD}" type="pres">
      <dgm:prSet presAssocID="{3FC41CCC-F223-4742-801D-1480B638A21A}" presName="parSpace" presStyleCnt="0"/>
      <dgm:spPr/>
    </dgm:pt>
    <dgm:pt modelId="{450FE5AB-18C1-A24B-BE6B-4FD5B49ACBBA}" type="pres">
      <dgm:prSet presAssocID="{839C5B3E-E964-5040-A0CB-5B62DF03A70A}" presName="parTxOnly" presStyleLbl="node1" presStyleIdx="2" presStyleCnt="5" custScaleY="106222">
        <dgm:presLayoutVars>
          <dgm:bulletEnabled val="1"/>
        </dgm:presLayoutVars>
      </dgm:prSet>
      <dgm:spPr/>
    </dgm:pt>
    <dgm:pt modelId="{C48DC039-12DC-7344-98A3-13DD75D31A40}" type="pres">
      <dgm:prSet presAssocID="{94EA5F54-7A6B-7544-9622-4D795ED73C0F}" presName="parSpace" presStyleCnt="0"/>
      <dgm:spPr/>
    </dgm:pt>
    <dgm:pt modelId="{0C24C73C-5801-D14D-9AC3-20180ABDB0D5}" type="pres">
      <dgm:prSet presAssocID="{043E227F-4E4A-8D4C-B32A-05E5DA88761D}" presName="parTxOnly" presStyleLbl="node1" presStyleIdx="3" presStyleCnt="5" custScaleY="106222">
        <dgm:presLayoutVars>
          <dgm:bulletEnabled val="1"/>
        </dgm:presLayoutVars>
      </dgm:prSet>
      <dgm:spPr/>
    </dgm:pt>
    <dgm:pt modelId="{4534E53C-99EE-F64C-BC4E-A90341134685}" type="pres">
      <dgm:prSet presAssocID="{B9DB1456-1F4E-644A-A671-5E17854D428F}" presName="parSpace" presStyleCnt="0"/>
      <dgm:spPr/>
    </dgm:pt>
    <dgm:pt modelId="{C77F9BE3-428D-7848-AD75-7B9FB75CC2ED}" type="pres">
      <dgm:prSet presAssocID="{2D217AB3-B6BB-BB49-9C66-CF7D389DCD2D}" presName="parTxOnly" presStyleLbl="node1" presStyleIdx="4" presStyleCnt="5" custScaleY="106222">
        <dgm:presLayoutVars>
          <dgm:bulletEnabled val="1"/>
        </dgm:presLayoutVars>
      </dgm:prSet>
      <dgm:spPr/>
    </dgm:pt>
  </dgm:ptLst>
  <dgm:cxnLst>
    <dgm:cxn modelId="{E7918F04-9EDE-DE4D-8664-B61EB1488376}" srcId="{7C9E676C-3BC2-0B4B-9BA2-C71F3E10E985}" destId="{8C755B84-6270-C043-9313-67CE1230113E}" srcOrd="0" destOrd="0" parTransId="{EE9967A7-0C6B-4A4E-8CEA-66A186E6E6FD}" sibTransId="{DA0A29CE-9CD5-9E42-B0C3-5C3F2E0728C9}"/>
    <dgm:cxn modelId="{3D278D12-3F85-4E40-944B-CBE0E67E41B1}" srcId="{7C9E676C-3BC2-0B4B-9BA2-C71F3E10E985}" destId="{5AF52E67-3CE9-D34C-9B90-01CA62AB6044}" srcOrd="1" destOrd="0" parTransId="{86D15F81-E6F0-0749-8B08-1B89D496A1A3}" sibTransId="{3FC41CCC-F223-4742-801D-1480B638A21A}"/>
    <dgm:cxn modelId="{A0124725-2958-A24B-B22A-6CD3ADF5553E}" type="presOf" srcId="{839C5B3E-E964-5040-A0CB-5B62DF03A70A}" destId="{450FE5AB-18C1-A24B-BE6B-4FD5B49ACBBA}" srcOrd="0" destOrd="0" presId="urn:microsoft.com/office/officeart/2005/8/layout/hChevron3"/>
    <dgm:cxn modelId="{BC1F1D84-304D-F140-ACF3-71403EB3E489}" type="presOf" srcId="{8C755B84-6270-C043-9313-67CE1230113E}" destId="{4B1B3BE1-1C7D-554A-BAA3-D5AE74C7A792}" srcOrd="0" destOrd="0" presId="urn:microsoft.com/office/officeart/2005/8/layout/hChevron3"/>
    <dgm:cxn modelId="{A294AA8C-CB8F-DB4C-862E-38B46AAD7D64}" srcId="{7C9E676C-3BC2-0B4B-9BA2-C71F3E10E985}" destId="{043E227F-4E4A-8D4C-B32A-05E5DA88761D}" srcOrd="3" destOrd="0" parTransId="{D730749E-63A6-0C48-BAB8-45B298A85473}" sibTransId="{B9DB1456-1F4E-644A-A671-5E17854D428F}"/>
    <dgm:cxn modelId="{43350CA8-EBA7-B442-BA1B-02162E9E5253}" type="presOf" srcId="{7C9E676C-3BC2-0B4B-9BA2-C71F3E10E985}" destId="{6E82AEEB-D3E1-2146-8F7A-2D8280FDE57F}" srcOrd="0" destOrd="0" presId="urn:microsoft.com/office/officeart/2005/8/layout/hChevron3"/>
    <dgm:cxn modelId="{60B971C1-F25D-734F-9F4C-BCCD315061C7}" type="presOf" srcId="{5AF52E67-3CE9-D34C-9B90-01CA62AB6044}" destId="{CA708076-D827-8D47-AB12-416B1ABE08BE}" srcOrd="0" destOrd="0" presId="urn:microsoft.com/office/officeart/2005/8/layout/hChevron3"/>
    <dgm:cxn modelId="{93345DD6-705F-5742-891F-6C870F2B3F0B}" type="presOf" srcId="{2D217AB3-B6BB-BB49-9C66-CF7D389DCD2D}" destId="{C77F9BE3-428D-7848-AD75-7B9FB75CC2ED}" srcOrd="0" destOrd="0" presId="urn:microsoft.com/office/officeart/2005/8/layout/hChevron3"/>
    <dgm:cxn modelId="{471D0FE6-C386-FD43-A0C4-C8193AB36AA1}" srcId="{7C9E676C-3BC2-0B4B-9BA2-C71F3E10E985}" destId="{839C5B3E-E964-5040-A0CB-5B62DF03A70A}" srcOrd="2" destOrd="0" parTransId="{760127DC-FBA4-1C4F-9A64-720A5413F779}" sibTransId="{94EA5F54-7A6B-7544-9622-4D795ED73C0F}"/>
    <dgm:cxn modelId="{A2CF97E6-715C-8747-B183-39E2A33FEEA3}" srcId="{7C9E676C-3BC2-0B4B-9BA2-C71F3E10E985}" destId="{2D217AB3-B6BB-BB49-9C66-CF7D389DCD2D}" srcOrd="4" destOrd="0" parTransId="{0F7E0CEB-1E34-9140-814F-EE21216A97A5}" sibTransId="{FD872547-9513-8540-AE47-D16FB54B2FD1}"/>
    <dgm:cxn modelId="{01C248E8-A983-3841-8900-84EC5887AE6C}" type="presOf" srcId="{043E227F-4E4A-8D4C-B32A-05E5DA88761D}" destId="{0C24C73C-5801-D14D-9AC3-20180ABDB0D5}" srcOrd="0" destOrd="0" presId="urn:microsoft.com/office/officeart/2005/8/layout/hChevron3"/>
    <dgm:cxn modelId="{15D6978B-4EA2-0441-BE60-D1D110BC527C}" type="presParOf" srcId="{6E82AEEB-D3E1-2146-8F7A-2D8280FDE57F}" destId="{4B1B3BE1-1C7D-554A-BAA3-D5AE74C7A792}" srcOrd="0" destOrd="0" presId="urn:microsoft.com/office/officeart/2005/8/layout/hChevron3"/>
    <dgm:cxn modelId="{CD9CDF87-C9E4-964E-8FB3-37BCE97B3640}" type="presParOf" srcId="{6E82AEEB-D3E1-2146-8F7A-2D8280FDE57F}" destId="{A5A9B69C-AF1E-3E40-800F-A362DD7F924D}" srcOrd="1" destOrd="0" presId="urn:microsoft.com/office/officeart/2005/8/layout/hChevron3"/>
    <dgm:cxn modelId="{2BEEF39F-5A98-F643-8994-25CC03D20160}" type="presParOf" srcId="{6E82AEEB-D3E1-2146-8F7A-2D8280FDE57F}" destId="{CA708076-D827-8D47-AB12-416B1ABE08BE}" srcOrd="2" destOrd="0" presId="urn:microsoft.com/office/officeart/2005/8/layout/hChevron3"/>
    <dgm:cxn modelId="{3D5FAACB-4E64-B945-A842-70D95A4825C4}" type="presParOf" srcId="{6E82AEEB-D3E1-2146-8F7A-2D8280FDE57F}" destId="{F547E683-5DC2-6840-9309-1D1F0DC17DBD}" srcOrd="3" destOrd="0" presId="urn:microsoft.com/office/officeart/2005/8/layout/hChevron3"/>
    <dgm:cxn modelId="{C7BBCCB4-D7AC-7A40-8F1A-9856ECCA792B}" type="presParOf" srcId="{6E82AEEB-D3E1-2146-8F7A-2D8280FDE57F}" destId="{450FE5AB-18C1-A24B-BE6B-4FD5B49ACBBA}" srcOrd="4" destOrd="0" presId="urn:microsoft.com/office/officeart/2005/8/layout/hChevron3"/>
    <dgm:cxn modelId="{95788FB5-4D68-A440-9CD8-A01C1FAF85A3}" type="presParOf" srcId="{6E82AEEB-D3E1-2146-8F7A-2D8280FDE57F}" destId="{C48DC039-12DC-7344-98A3-13DD75D31A40}" srcOrd="5" destOrd="0" presId="urn:microsoft.com/office/officeart/2005/8/layout/hChevron3"/>
    <dgm:cxn modelId="{69775AFB-70E7-B144-89A4-6EAB8726FBC4}" type="presParOf" srcId="{6E82AEEB-D3E1-2146-8F7A-2D8280FDE57F}" destId="{0C24C73C-5801-D14D-9AC3-20180ABDB0D5}" srcOrd="6" destOrd="0" presId="urn:microsoft.com/office/officeart/2005/8/layout/hChevron3"/>
    <dgm:cxn modelId="{2287153D-C2D6-7245-87BF-3790CC06BEB4}" type="presParOf" srcId="{6E82AEEB-D3E1-2146-8F7A-2D8280FDE57F}" destId="{4534E53C-99EE-F64C-BC4E-A90341134685}" srcOrd="7" destOrd="0" presId="urn:microsoft.com/office/officeart/2005/8/layout/hChevron3"/>
    <dgm:cxn modelId="{9AF33032-D810-904A-A6F5-81B29AD70A86}" type="presParOf" srcId="{6E82AEEB-D3E1-2146-8F7A-2D8280FDE57F}" destId="{C77F9BE3-428D-7848-AD75-7B9FB75CC2ED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D987F4-C98F-47C2-BE17-4393A7D0C67F}" type="doc">
      <dgm:prSet loTypeId="urn:microsoft.com/office/officeart/2005/8/layout/hierarchy6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IN"/>
        </a:p>
      </dgm:t>
    </dgm:pt>
    <dgm:pt modelId="{BBB79A1C-1514-499C-A519-0ADA3A737C12}">
      <dgm:prSet phldrT="[Text]" custT="1"/>
      <dgm:spPr/>
      <dgm:t>
        <a:bodyPr/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cap="all" baseline="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Memory-based Collaborative filtering</a:t>
          </a:r>
          <a:endParaRPr lang="en-IN" sz="1800" kern="1200" cap="all" baseline="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A241CAF9-B609-4D00-A208-B098B2AEBAB4}" type="parTrans" cxnId="{BB5FB3A9-0B7C-4706-88A2-B974C39840C9}">
      <dgm:prSet/>
      <dgm:spPr/>
      <dgm:t>
        <a:bodyPr/>
        <a:lstStyle/>
        <a:p>
          <a:endParaRPr lang="en-IN"/>
        </a:p>
      </dgm:t>
    </dgm:pt>
    <dgm:pt modelId="{6331AD82-9093-43D5-94D4-6856C7623D19}" type="sibTrans" cxnId="{BB5FB3A9-0B7C-4706-88A2-B974C39840C9}">
      <dgm:prSet/>
      <dgm:spPr/>
      <dgm:t>
        <a:bodyPr/>
        <a:lstStyle/>
        <a:p>
          <a:endParaRPr lang="en-IN"/>
        </a:p>
      </dgm:t>
    </dgm:pt>
    <dgm:pt modelId="{E128D528-BAEE-40C3-865A-D493DECE3BCC}">
      <dgm:prSet phldrT="[Text]" custT="1"/>
      <dgm:spPr/>
      <dgm:t>
        <a:bodyPr/>
        <a:lstStyle/>
        <a:p>
          <a:pPr algn="l"/>
          <a:r>
            <a:rPr lang="en-US" sz="1800" kern="1200" cap="all" baseline="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       User-based</a:t>
          </a:r>
          <a:endParaRPr lang="en-IN" sz="1800" kern="1200" cap="all" baseline="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47AC6A8E-59E0-48A8-9A7E-DF4B5CCFB473}" type="parTrans" cxnId="{536D55A9-5636-466B-813A-CA60AEF1F114}">
      <dgm:prSet/>
      <dgm:spPr/>
      <dgm:t>
        <a:bodyPr/>
        <a:lstStyle/>
        <a:p>
          <a:endParaRPr lang="en-IN"/>
        </a:p>
      </dgm:t>
    </dgm:pt>
    <dgm:pt modelId="{9BB804C3-885B-43FE-B9B9-3F1AF8AD6293}" type="sibTrans" cxnId="{536D55A9-5636-466B-813A-CA60AEF1F114}">
      <dgm:prSet/>
      <dgm:spPr/>
      <dgm:t>
        <a:bodyPr/>
        <a:lstStyle/>
        <a:p>
          <a:endParaRPr lang="en-IN"/>
        </a:p>
      </dgm:t>
    </dgm:pt>
    <dgm:pt modelId="{6220E316-540F-4251-8DA3-2CBBF89D249C}">
      <dgm:prSet phldrT="[Text]" custT="1"/>
      <dgm:spPr/>
      <dgm:t>
        <a:bodyPr/>
        <a:lstStyle/>
        <a:p>
          <a:pPr algn="l"/>
          <a:r>
            <a:rPr lang="en-US" sz="1800" kern="1200" cap="all" baseline="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                                                      Item-based</a:t>
          </a:r>
          <a:endParaRPr lang="en-IN" sz="1800" kern="1200" cap="all" baseline="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7A6EB828-B01A-4AC3-8ACB-AD1481CBCA67}" type="sibTrans" cxnId="{C4978F44-7359-47E5-8E3A-14C25DBD9A8E}">
      <dgm:prSet/>
      <dgm:spPr/>
      <dgm:t>
        <a:bodyPr/>
        <a:lstStyle/>
        <a:p>
          <a:endParaRPr lang="en-IN"/>
        </a:p>
      </dgm:t>
    </dgm:pt>
    <dgm:pt modelId="{0492C94A-BC3A-44D4-98E8-C58499742576}" type="parTrans" cxnId="{C4978F44-7359-47E5-8E3A-14C25DBD9A8E}">
      <dgm:prSet/>
      <dgm:spPr/>
      <dgm:t>
        <a:bodyPr/>
        <a:lstStyle/>
        <a:p>
          <a:endParaRPr lang="en-IN"/>
        </a:p>
      </dgm:t>
    </dgm:pt>
    <dgm:pt modelId="{D7608661-90A9-4598-AED1-3CCA5791300B}" type="pres">
      <dgm:prSet presAssocID="{E0D987F4-C98F-47C2-BE17-4393A7D0C67F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D16A647A-76D6-46FC-B13F-7752C9679877}" type="pres">
      <dgm:prSet presAssocID="{E0D987F4-C98F-47C2-BE17-4393A7D0C67F}" presName="hierFlow" presStyleCnt="0"/>
      <dgm:spPr/>
    </dgm:pt>
    <dgm:pt modelId="{7FBD5043-5ED0-4CB5-8E50-54EDFE2EF3E4}" type="pres">
      <dgm:prSet presAssocID="{E0D987F4-C98F-47C2-BE17-4393A7D0C67F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7D1B2D3-7B90-4453-8D68-2329B7D6DFD4}" type="pres">
      <dgm:prSet presAssocID="{BBB79A1C-1514-499C-A519-0ADA3A737C12}" presName="Name14" presStyleCnt="0"/>
      <dgm:spPr/>
    </dgm:pt>
    <dgm:pt modelId="{9E54BA5D-67CA-4E43-8EA5-C58C30E8BE8D}" type="pres">
      <dgm:prSet presAssocID="{BBB79A1C-1514-499C-A519-0ADA3A737C12}" presName="level1Shape" presStyleLbl="node0" presStyleIdx="0" presStyleCnt="1">
        <dgm:presLayoutVars>
          <dgm:chPref val="3"/>
        </dgm:presLayoutVars>
      </dgm:prSet>
      <dgm:spPr/>
    </dgm:pt>
    <dgm:pt modelId="{680B329F-F634-4D1F-B7AD-6A0306251D6C}" type="pres">
      <dgm:prSet presAssocID="{BBB79A1C-1514-499C-A519-0ADA3A737C12}" presName="hierChild2" presStyleCnt="0"/>
      <dgm:spPr/>
    </dgm:pt>
    <dgm:pt modelId="{46C515FE-9694-4B90-A65D-DACDAEE3AF34}" type="pres">
      <dgm:prSet presAssocID="{47AC6A8E-59E0-48A8-9A7E-DF4B5CCFB473}" presName="Name19" presStyleLbl="parChTrans1D2" presStyleIdx="0" presStyleCnt="2"/>
      <dgm:spPr/>
    </dgm:pt>
    <dgm:pt modelId="{91A1ADD5-BA27-4B2B-9711-0073CC9F7BF6}" type="pres">
      <dgm:prSet presAssocID="{E128D528-BAEE-40C3-865A-D493DECE3BCC}" presName="Name21" presStyleCnt="0"/>
      <dgm:spPr/>
    </dgm:pt>
    <dgm:pt modelId="{CEB82CF2-D77D-4CFD-9875-DBD48FC9A6B8}" type="pres">
      <dgm:prSet presAssocID="{E128D528-BAEE-40C3-865A-D493DECE3BCC}" presName="level2Shape" presStyleLbl="node2" presStyleIdx="0" presStyleCnt="2" custScaleX="206485"/>
      <dgm:spPr/>
    </dgm:pt>
    <dgm:pt modelId="{3765DCAB-A9EB-43E9-961C-4A59564A3A8E}" type="pres">
      <dgm:prSet presAssocID="{E128D528-BAEE-40C3-865A-D493DECE3BCC}" presName="hierChild3" presStyleCnt="0"/>
      <dgm:spPr/>
    </dgm:pt>
    <dgm:pt modelId="{A4E99B29-CC0E-4FA2-A23C-761DBA2D4701}" type="pres">
      <dgm:prSet presAssocID="{0492C94A-BC3A-44D4-98E8-C58499742576}" presName="Name19" presStyleLbl="parChTrans1D2" presStyleIdx="1" presStyleCnt="2"/>
      <dgm:spPr/>
    </dgm:pt>
    <dgm:pt modelId="{62550291-A5DB-4C70-BDF1-6781B24C8FE5}" type="pres">
      <dgm:prSet presAssocID="{6220E316-540F-4251-8DA3-2CBBF89D249C}" presName="Name21" presStyleCnt="0"/>
      <dgm:spPr/>
    </dgm:pt>
    <dgm:pt modelId="{48DBAE25-3C06-41F5-A04C-583C272185BB}" type="pres">
      <dgm:prSet presAssocID="{6220E316-540F-4251-8DA3-2CBBF89D249C}" presName="level2Shape" presStyleLbl="node2" presStyleIdx="1" presStyleCnt="2" custScaleX="189706"/>
      <dgm:spPr/>
    </dgm:pt>
    <dgm:pt modelId="{5B865080-BCD4-4137-8F6D-8C6EBEFFFF30}" type="pres">
      <dgm:prSet presAssocID="{6220E316-540F-4251-8DA3-2CBBF89D249C}" presName="hierChild3" presStyleCnt="0"/>
      <dgm:spPr/>
    </dgm:pt>
    <dgm:pt modelId="{396F1501-1CD4-4D3F-81BC-6F590155D30F}" type="pres">
      <dgm:prSet presAssocID="{E0D987F4-C98F-47C2-BE17-4393A7D0C67F}" presName="bgShapesFlow" presStyleCnt="0"/>
      <dgm:spPr/>
    </dgm:pt>
  </dgm:ptLst>
  <dgm:cxnLst>
    <dgm:cxn modelId="{347DA912-3DF8-478C-9CE9-829C049593EB}" type="presOf" srcId="{6220E316-540F-4251-8DA3-2CBBF89D249C}" destId="{48DBAE25-3C06-41F5-A04C-583C272185BB}" srcOrd="0" destOrd="0" presId="urn:microsoft.com/office/officeart/2005/8/layout/hierarchy6"/>
    <dgm:cxn modelId="{C4978F44-7359-47E5-8E3A-14C25DBD9A8E}" srcId="{BBB79A1C-1514-499C-A519-0ADA3A737C12}" destId="{6220E316-540F-4251-8DA3-2CBBF89D249C}" srcOrd="1" destOrd="0" parTransId="{0492C94A-BC3A-44D4-98E8-C58499742576}" sibTransId="{7A6EB828-B01A-4AC3-8ACB-AD1481CBCA67}"/>
    <dgm:cxn modelId="{E6577767-FD11-4455-A979-7E670F97DF36}" type="presOf" srcId="{E128D528-BAEE-40C3-865A-D493DECE3BCC}" destId="{CEB82CF2-D77D-4CFD-9875-DBD48FC9A6B8}" srcOrd="0" destOrd="0" presId="urn:microsoft.com/office/officeart/2005/8/layout/hierarchy6"/>
    <dgm:cxn modelId="{B5F37B7E-F043-418F-A9C5-A3893960D846}" type="presOf" srcId="{BBB79A1C-1514-499C-A519-0ADA3A737C12}" destId="{9E54BA5D-67CA-4E43-8EA5-C58C30E8BE8D}" srcOrd="0" destOrd="0" presId="urn:microsoft.com/office/officeart/2005/8/layout/hierarchy6"/>
    <dgm:cxn modelId="{3371ED82-CCEA-4D1C-B909-681786EA683B}" type="presOf" srcId="{47AC6A8E-59E0-48A8-9A7E-DF4B5CCFB473}" destId="{46C515FE-9694-4B90-A65D-DACDAEE3AF34}" srcOrd="0" destOrd="0" presId="urn:microsoft.com/office/officeart/2005/8/layout/hierarchy6"/>
    <dgm:cxn modelId="{1029418C-403E-4DA0-A2F6-FCE98FE3FDF8}" type="presOf" srcId="{0492C94A-BC3A-44D4-98E8-C58499742576}" destId="{A4E99B29-CC0E-4FA2-A23C-761DBA2D4701}" srcOrd="0" destOrd="0" presId="urn:microsoft.com/office/officeart/2005/8/layout/hierarchy6"/>
    <dgm:cxn modelId="{536D55A9-5636-466B-813A-CA60AEF1F114}" srcId="{BBB79A1C-1514-499C-A519-0ADA3A737C12}" destId="{E128D528-BAEE-40C3-865A-D493DECE3BCC}" srcOrd="0" destOrd="0" parTransId="{47AC6A8E-59E0-48A8-9A7E-DF4B5CCFB473}" sibTransId="{9BB804C3-885B-43FE-B9B9-3F1AF8AD6293}"/>
    <dgm:cxn modelId="{BB5FB3A9-0B7C-4706-88A2-B974C39840C9}" srcId="{E0D987F4-C98F-47C2-BE17-4393A7D0C67F}" destId="{BBB79A1C-1514-499C-A519-0ADA3A737C12}" srcOrd="0" destOrd="0" parTransId="{A241CAF9-B609-4D00-A208-B098B2AEBAB4}" sibTransId="{6331AD82-9093-43D5-94D4-6856C7623D19}"/>
    <dgm:cxn modelId="{54E834C9-1989-4453-AC19-D3DB74AC24E7}" type="presOf" srcId="{E0D987F4-C98F-47C2-BE17-4393A7D0C67F}" destId="{D7608661-90A9-4598-AED1-3CCA5791300B}" srcOrd="0" destOrd="0" presId="urn:microsoft.com/office/officeart/2005/8/layout/hierarchy6"/>
    <dgm:cxn modelId="{F00EE78E-6E31-4A9E-8E93-65F599511D74}" type="presParOf" srcId="{D7608661-90A9-4598-AED1-3CCA5791300B}" destId="{D16A647A-76D6-46FC-B13F-7752C9679877}" srcOrd="0" destOrd="0" presId="urn:microsoft.com/office/officeart/2005/8/layout/hierarchy6"/>
    <dgm:cxn modelId="{B31E2963-CB73-432A-88D0-A5C67169E769}" type="presParOf" srcId="{D16A647A-76D6-46FC-B13F-7752C9679877}" destId="{7FBD5043-5ED0-4CB5-8E50-54EDFE2EF3E4}" srcOrd="0" destOrd="0" presId="urn:microsoft.com/office/officeart/2005/8/layout/hierarchy6"/>
    <dgm:cxn modelId="{5C1A4A1F-465A-48D1-9339-C97997C15CFB}" type="presParOf" srcId="{7FBD5043-5ED0-4CB5-8E50-54EDFE2EF3E4}" destId="{17D1B2D3-7B90-4453-8D68-2329B7D6DFD4}" srcOrd="0" destOrd="0" presId="urn:microsoft.com/office/officeart/2005/8/layout/hierarchy6"/>
    <dgm:cxn modelId="{7DF28CD7-0739-450F-B664-DD97C439F88A}" type="presParOf" srcId="{17D1B2D3-7B90-4453-8D68-2329B7D6DFD4}" destId="{9E54BA5D-67CA-4E43-8EA5-C58C30E8BE8D}" srcOrd="0" destOrd="0" presId="urn:microsoft.com/office/officeart/2005/8/layout/hierarchy6"/>
    <dgm:cxn modelId="{B3A3D696-EDB2-4889-80B3-CD7638286BFB}" type="presParOf" srcId="{17D1B2D3-7B90-4453-8D68-2329B7D6DFD4}" destId="{680B329F-F634-4D1F-B7AD-6A0306251D6C}" srcOrd="1" destOrd="0" presId="urn:microsoft.com/office/officeart/2005/8/layout/hierarchy6"/>
    <dgm:cxn modelId="{EA150BF0-CE43-4B28-8C07-4DDDCB1ECDC3}" type="presParOf" srcId="{680B329F-F634-4D1F-B7AD-6A0306251D6C}" destId="{46C515FE-9694-4B90-A65D-DACDAEE3AF34}" srcOrd="0" destOrd="0" presId="urn:microsoft.com/office/officeart/2005/8/layout/hierarchy6"/>
    <dgm:cxn modelId="{C4583319-A36B-499A-B45E-81AF914D2617}" type="presParOf" srcId="{680B329F-F634-4D1F-B7AD-6A0306251D6C}" destId="{91A1ADD5-BA27-4B2B-9711-0073CC9F7BF6}" srcOrd="1" destOrd="0" presId="urn:microsoft.com/office/officeart/2005/8/layout/hierarchy6"/>
    <dgm:cxn modelId="{70F246D8-E999-4A2A-84B6-DBCC4216FE50}" type="presParOf" srcId="{91A1ADD5-BA27-4B2B-9711-0073CC9F7BF6}" destId="{CEB82CF2-D77D-4CFD-9875-DBD48FC9A6B8}" srcOrd="0" destOrd="0" presId="urn:microsoft.com/office/officeart/2005/8/layout/hierarchy6"/>
    <dgm:cxn modelId="{E0A1A26F-0F22-4E09-856A-A099F98BF455}" type="presParOf" srcId="{91A1ADD5-BA27-4B2B-9711-0073CC9F7BF6}" destId="{3765DCAB-A9EB-43E9-961C-4A59564A3A8E}" srcOrd="1" destOrd="0" presId="urn:microsoft.com/office/officeart/2005/8/layout/hierarchy6"/>
    <dgm:cxn modelId="{EAFD63E5-2B23-4216-BC3B-2072FD542D9F}" type="presParOf" srcId="{680B329F-F634-4D1F-B7AD-6A0306251D6C}" destId="{A4E99B29-CC0E-4FA2-A23C-761DBA2D4701}" srcOrd="2" destOrd="0" presId="urn:microsoft.com/office/officeart/2005/8/layout/hierarchy6"/>
    <dgm:cxn modelId="{5F2FBD1C-7011-4BE0-AEA3-84C31A267871}" type="presParOf" srcId="{680B329F-F634-4D1F-B7AD-6A0306251D6C}" destId="{62550291-A5DB-4C70-BDF1-6781B24C8FE5}" srcOrd="3" destOrd="0" presId="urn:microsoft.com/office/officeart/2005/8/layout/hierarchy6"/>
    <dgm:cxn modelId="{85CAA9DA-A0C7-4DFB-BCD0-2EDF64353754}" type="presParOf" srcId="{62550291-A5DB-4C70-BDF1-6781B24C8FE5}" destId="{48DBAE25-3C06-41F5-A04C-583C272185BB}" srcOrd="0" destOrd="0" presId="urn:microsoft.com/office/officeart/2005/8/layout/hierarchy6"/>
    <dgm:cxn modelId="{161F30D2-14DB-46DE-BEF6-A2BAEB5141FA}" type="presParOf" srcId="{62550291-A5DB-4C70-BDF1-6781B24C8FE5}" destId="{5B865080-BCD4-4137-8F6D-8C6EBEFFFF30}" srcOrd="1" destOrd="0" presId="urn:microsoft.com/office/officeart/2005/8/layout/hierarchy6"/>
    <dgm:cxn modelId="{B10683CF-07FD-40DB-B350-51927AF607FA}" type="presParOf" srcId="{D7608661-90A9-4598-AED1-3CCA5791300B}" destId="{396F1501-1CD4-4D3F-81BC-6F590155D30F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51BEEBF-AE22-4308-987B-203F95F2E76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28D3A44-239C-462B-9154-2DC213B0E8E6}">
      <dgm:prSet phldrT="[Text]" phldr="0"/>
      <dgm:spPr/>
      <dgm:t>
        <a:bodyPr/>
        <a:lstStyle/>
        <a:p>
          <a:r>
            <a:rPr lang="en-US" dirty="0">
              <a:latin typeface="Daimle cs"/>
            </a:rPr>
            <a:t>Conclusion</a:t>
          </a:r>
        </a:p>
      </dgm:t>
    </dgm:pt>
    <dgm:pt modelId="{315ACDA2-6CEE-4515-BD8A-2D02841CEA66}" type="parTrans" cxnId="{E84200D5-3C1B-4E72-8F1F-1B9E7DC32262}">
      <dgm:prSet/>
      <dgm:spPr/>
      <dgm:t>
        <a:bodyPr/>
        <a:lstStyle/>
        <a:p>
          <a:endParaRPr lang="en-US"/>
        </a:p>
      </dgm:t>
    </dgm:pt>
    <dgm:pt modelId="{1961633F-F948-4668-9249-23E8AA90125E}" type="sibTrans" cxnId="{E84200D5-3C1B-4E72-8F1F-1B9E7DC32262}">
      <dgm:prSet/>
      <dgm:spPr/>
      <dgm:t>
        <a:bodyPr/>
        <a:lstStyle/>
        <a:p>
          <a:endParaRPr lang="en-US"/>
        </a:p>
      </dgm:t>
    </dgm:pt>
    <dgm:pt modelId="{34EC1585-2BDF-45AB-A4F3-82DEAFE8B0FF}">
      <dgm:prSet phldrT="[Text]" phldr="0"/>
      <dgm:spPr/>
      <dgm:t>
        <a:bodyPr/>
        <a:lstStyle/>
        <a:p>
          <a:r>
            <a:rPr lang="en-US" dirty="0">
              <a:latin typeface="Daimle cs"/>
            </a:rPr>
            <a:t>Recommendation</a:t>
          </a:r>
        </a:p>
      </dgm:t>
    </dgm:pt>
    <dgm:pt modelId="{ABC2B7C7-2C7A-477B-B4B1-3F12BF51D945}" type="parTrans" cxnId="{60FDF615-4E24-4DA6-87CA-5E6FB7493414}">
      <dgm:prSet/>
      <dgm:spPr/>
      <dgm:t>
        <a:bodyPr/>
        <a:lstStyle/>
        <a:p>
          <a:endParaRPr lang="en-US"/>
        </a:p>
      </dgm:t>
    </dgm:pt>
    <dgm:pt modelId="{2ACCD091-B9D9-4F38-8AD3-C8627DE12BA3}" type="sibTrans" cxnId="{60FDF615-4E24-4DA6-87CA-5E6FB7493414}">
      <dgm:prSet/>
      <dgm:spPr/>
      <dgm:t>
        <a:bodyPr/>
        <a:lstStyle/>
        <a:p>
          <a:endParaRPr lang="en-US"/>
        </a:p>
      </dgm:t>
    </dgm:pt>
    <dgm:pt modelId="{1848D6E5-951D-431B-96E4-675C0B4EC5EC}">
      <dgm:prSet phldr="0"/>
      <dgm:spPr/>
      <dgm:t>
        <a:bodyPr/>
        <a:lstStyle/>
        <a:p>
          <a:pPr rtl="0"/>
          <a:r>
            <a:rPr lang="en-US" dirty="0">
              <a:latin typeface="Daimle cs"/>
            </a:rPr>
            <a:t>Overall Learnings</a:t>
          </a:r>
        </a:p>
      </dgm:t>
    </dgm:pt>
    <dgm:pt modelId="{FAAB202C-0A20-427B-8D61-F1EC0B0A1FF0}" type="parTrans" cxnId="{9A626888-3B89-4069-AD21-CDF229A0F2E8}">
      <dgm:prSet/>
      <dgm:spPr/>
      <dgm:t>
        <a:bodyPr/>
        <a:lstStyle/>
        <a:p>
          <a:endParaRPr lang="en-IN"/>
        </a:p>
      </dgm:t>
    </dgm:pt>
    <dgm:pt modelId="{F121909F-74D0-4A0B-91B4-F0E22C388543}" type="sibTrans" cxnId="{9A626888-3B89-4069-AD21-CDF229A0F2E8}">
      <dgm:prSet/>
      <dgm:spPr/>
      <dgm:t>
        <a:bodyPr/>
        <a:lstStyle/>
        <a:p>
          <a:endParaRPr lang="en-IN"/>
        </a:p>
      </dgm:t>
    </dgm:pt>
    <dgm:pt modelId="{10636D6F-B34C-4C86-8582-C288FAA32FAE}">
      <dgm:prSet phldr="0"/>
      <dgm:spPr/>
      <dgm:t>
        <a:bodyPr/>
        <a:lstStyle/>
        <a:p>
          <a:pPr rtl="0"/>
          <a:r>
            <a:rPr lang="en-US" dirty="0">
              <a:latin typeface="Daimle cs"/>
            </a:rPr>
            <a:t>Next Step</a:t>
          </a:r>
        </a:p>
      </dgm:t>
    </dgm:pt>
    <dgm:pt modelId="{6F7B737F-4F9F-48ED-B83F-385B3FBDE5C7}" type="parTrans" cxnId="{6F550108-3657-43CE-AD73-7CADE26048D3}">
      <dgm:prSet/>
      <dgm:spPr/>
      <dgm:t>
        <a:bodyPr/>
        <a:lstStyle/>
        <a:p>
          <a:endParaRPr lang="en-IN"/>
        </a:p>
      </dgm:t>
    </dgm:pt>
    <dgm:pt modelId="{88FCB6D7-3AC6-45EB-A704-E951B18BEF34}" type="sibTrans" cxnId="{6F550108-3657-43CE-AD73-7CADE26048D3}">
      <dgm:prSet/>
      <dgm:spPr/>
      <dgm:t>
        <a:bodyPr/>
        <a:lstStyle/>
        <a:p>
          <a:endParaRPr lang="en-IN"/>
        </a:p>
      </dgm:t>
    </dgm:pt>
    <dgm:pt modelId="{9335DD2E-F39A-4896-B610-96AF1FC194F1}" type="pres">
      <dgm:prSet presAssocID="{C51BEEBF-AE22-4308-987B-203F95F2E766}" presName="linear" presStyleCnt="0">
        <dgm:presLayoutVars>
          <dgm:dir/>
          <dgm:animLvl val="lvl"/>
          <dgm:resizeHandles val="exact"/>
        </dgm:presLayoutVars>
      </dgm:prSet>
      <dgm:spPr/>
    </dgm:pt>
    <dgm:pt modelId="{49F2FD54-6C0A-4FF6-B638-1781A9E4E85C}" type="pres">
      <dgm:prSet presAssocID="{B28D3A44-239C-462B-9154-2DC213B0E8E6}" presName="parentLin" presStyleCnt="0"/>
      <dgm:spPr/>
    </dgm:pt>
    <dgm:pt modelId="{36291C3C-992D-4DA9-8C25-9E0AC54BE921}" type="pres">
      <dgm:prSet presAssocID="{B28D3A44-239C-462B-9154-2DC213B0E8E6}" presName="parentLeftMargin" presStyleLbl="node1" presStyleIdx="0" presStyleCnt="4"/>
      <dgm:spPr/>
    </dgm:pt>
    <dgm:pt modelId="{27F45081-9F90-4CAD-9032-34C75D84668D}" type="pres">
      <dgm:prSet presAssocID="{B28D3A44-239C-462B-9154-2DC213B0E8E6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6BBC891F-6BE2-4138-BE3B-6BAE274B7E53}" type="pres">
      <dgm:prSet presAssocID="{B28D3A44-239C-462B-9154-2DC213B0E8E6}" presName="negativeSpace" presStyleCnt="0"/>
      <dgm:spPr/>
    </dgm:pt>
    <dgm:pt modelId="{A4464808-8D74-4D1C-8DBD-980F50C0AFB9}" type="pres">
      <dgm:prSet presAssocID="{B28D3A44-239C-462B-9154-2DC213B0E8E6}" presName="childText" presStyleLbl="conFgAcc1" presStyleIdx="0" presStyleCnt="4">
        <dgm:presLayoutVars>
          <dgm:bulletEnabled val="1"/>
        </dgm:presLayoutVars>
      </dgm:prSet>
      <dgm:spPr/>
    </dgm:pt>
    <dgm:pt modelId="{970B5761-B2CC-42C0-867B-94DB2C512D6F}" type="pres">
      <dgm:prSet presAssocID="{1961633F-F948-4668-9249-23E8AA90125E}" presName="spaceBetweenRectangles" presStyleCnt="0"/>
      <dgm:spPr/>
    </dgm:pt>
    <dgm:pt modelId="{E9A3A5E7-0CEC-4EFC-A815-63F65BC07535}" type="pres">
      <dgm:prSet presAssocID="{34EC1585-2BDF-45AB-A4F3-82DEAFE8B0FF}" presName="parentLin" presStyleCnt="0"/>
      <dgm:spPr/>
    </dgm:pt>
    <dgm:pt modelId="{8D38B23F-1C42-493F-ABBB-023C2172C292}" type="pres">
      <dgm:prSet presAssocID="{34EC1585-2BDF-45AB-A4F3-82DEAFE8B0FF}" presName="parentLeftMargin" presStyleLbl="node1" presStyleIdx="0" presStyleCnt="4"/>
      <dgm:spPr/>
    </dgm:pt>
    <dgm:pt modelId="{49A76717-7481-4C49-B155-B745FB88DF67}" type="pres">
      <dgm:prSet presAssocID="{34EC1585-2BDF-45AB-A4F3-82DEAFE8B0FF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7BF41331-DA7E-4891-93FF-6C02D9F74296}" type="pres">
      <dgm:prSet presAssocID="{34EC1585-2BDF-45AB-A4F3-82DEAFE8B0FF}" presName="negativeSpace" presStyleCnt="0"/>
      <dgm:spPr/>
    </dgm:pt>
    <dgm:pt modelId="{359160CD-0698-41E6-A91D-B05AB9562545}" type="pres">
      <dgm:prSet presAssocID="{34EC1585-2BDF-45AB-A4F3-82DEAFE8B0FF}" presName="childText" presStyleLbl="conFgAcc1" presStyleIdx="1" presStyleCnt="4">
        <dgm:presLayoutVars>
          <dgm:bulletEnabled val="1"/>
        </dgm:presLayoutVars>
      </dgm:prSet>
      <dgm:spPr/>
    </dgm:pt>
    <dgm:pt modelId="{EF669897-368A-40D7-8306-60993521C77B}" type="pres">
      <dgm:prSet presAssocID="{2ACCD091-B9D9-4F38-8AD3-C8627DE12BA3}" presName="spaceBetweenRectangles" presStyleCnt="0"/>
      <dgm:spPr/>
    </dgm:pt>
    <dgm:pt modelId="{03EB6ACF-493D-4AF8-949E-65207E464F02}" type="pres">
      <dgm:prSet presAssocID="{1848D6E5-951D-431B-96E4-675C0B4EC5EC}" presName="parentLin" presStyleCnt="0"/>
      <dgm:spPr/>
    </dgm:pt>
    <dgm:pt modelId="{9E690A14-1462-4666-A2CA-9B083D1F4EA8}" type="pres">
      <dgm:prSet presAssocID="{1848D6E5-951D-431B-96E4-675C0B4EC5EC}" presName="parentLeftMargin" presStyleLbl="node1" presStyleIdx="1" presStyleCnt="4"/>
      <dgm:spPr/>
    </dgm:pt>
    <dgm:pt modelId="{3AEDCFCD-AB24-43C0-88D2-962A9A6302F3}" type="pres">
      <dgm:prSet presAssocID="{1848D6E5-951D-431B-96E4-675C0B4EC5EC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C6CB3D8C-ECAD-41CE-8E55-C1A146F49354}" type="pres">
      <dgm:prSet presAssocID="{1848D6E5-951D-431B-96E4-675C0B4EC5EC}" presName="negativeSpace" presStyleCnt="0"/>
      <dgm:spPr/>
    </dgm:pt>
    <dgm:pt modelId="{7AD16369-3D6E-4328-8F92-2B66BC320C71}" type="pres">
      <dgm:prSet presAssocID="{1848D6E5-951D-431B-96E4-675C0B4EC5EC}" presName="childText" presStyleLbl="conFgAcc1" presStyleIdx="2" presStyleCnt="4">
        <dgm:presLayoutVars>
          <dgm:bulletEnabled val="1"/>
        </dgm:presLayoutVars>
      </dgm:prSet>
      <dgm:spPr/>
    </dgm:pt>
    <dgm:pt modelId="{D4B367D3-AD7C-4D10-BA08-C64AA76B2605}" type="pres">
      <dgm:prSet presAssocID="{F121909F-74D0-4A0B-91B4-F0E22C388543}" presName="spaceBetweenRectangles" presStyleCnt="0"/>
      <dgm:spPr/>
    </dgm:pt>
    <dgm:pt modelId="{43E0851A-50EA-40D6-BDA5-8A2504C35393}" type="pres">
      <dgm:prSet presAssocID="{10636D6F-B34C-4C86-8582-C288FAA32FAE}" presName="parentLin" presStyleCnt="0"/>
      <dgm:spPr/>
    </dgm:pt>
    <dgm:pt modelId="{3D77D12C-E102-41DA-B219-830C0797906F}" type="pres">
      <dgm:prSet presAssocID="{10636D6F-B34C-4C86-8582-C288FAA32FAE}" presName="parentLeftMargin" presStyleLbl="node1" presStyleIdx="2" presStyleCnt="4"/>
      <dgm:spPr/>
    </dgm:pt>
    <dgm:pt modelId="{D2442B77-5878-4440-984A-42B7E98CA22C}" type="pres">
      <dgm:prSet presAssocID="{10636D6F-B34C-4C86-8582-C288FAA32FAE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348C1E1B-CC71-4ACF-BCBD-0F372D3963DE}" type="pres">
      <dgm:prSet presAssocID="{10636D6F-B34C-4C86-8582-C288FAA32FAE}" presName="negativeSpace" presStyleCnt="0"/>
      <dgm:spPr/>
    </dgm:pt>
    <dgm:pt modelId="{547D029E-7276-4740-BC28-F4ECE3C7E1C7}" type="pres">
      <dgm:prSet presAssocID="{10636D6F-B34C-4C86-8582-C288FAA32FAE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6F550108-3657-43CE-AD73-7CADE26048D3}" srcId="{C51BEEBF-AE22-4308-987B-203F95F2E766}" destId="{10636D6F-B34C-4C86-8582-C288FAA32FAE}" srcOrd="3" destOrd="0" parTransId="{6F7B737F-4F9F-48ED-B83F-385B3FBDE5C7}" sibTransId="{88FCB6D7-3AC6-45EB-A704-E951B18BEF34}"/>
    <dgm:cxn modelId="{60FDF615-4E24-4DA6-87CA-5E6FB7493414}" srcId="{C51BEEBF-AE22-4308-987B-203F95F2E766}" destId="{34EC1585-2BDF-45AB-A4F3-82DEAFE8B0FF}" srcOrd="1" destOrd="0" parTransId="{ABC2B7C7-2C7A-477B-B4B1-3F12BF51D945}" sibTransId="{2ACCD091-B9D9-4F38-8AD3-C8627DE12BA3}"/>
    <dgm:cxn modelId="{989B261A-AF5F-4DA7-8559-9CD2F4561722}" type="presOf" srcId="{34EC1585-2BDF-45AB-A4F3-82DEAFE8B0FF}" destId="{8D38B23F-1C42-493F-ABBB-023C2172C292}" srcOrd="0" destOrd="0" presId="urn:microsoft.com/office/officeart/2005/8/layout/list1"/>
    <dgm:cxn modelId="{9EF00639-73A0-4582-99B9-0B727C4E272A}" type="presOf" srcId="{10636D6F-B34C-4C86-8582-C288FAA32FAE}" destId="{3D77D12C-E102-41DA-B219-830C0797906F}" srcOrd="0" destOrd="0" presId="urn:microsoft.com/office/officeart/2005/8/layout/list1"/>
    <dgm:cxn modelId="{37151544-0B09-472F-ACE3-698A34E98D35}" type="presOf" srcId="{1848D6E5-951D-431B-96E4-675C0B4EC5EC}" destId="{9E690A14-1462-4666-A2CA-9B083D1F4EA8}" srcOrd="0" destOrd="0" presId="urn:microsoft.com/office/officeart/2005/8/layout/list1"/>
    <dgm:cxn modelId="{A58C7545-2A3F-4BD9-9354-BDDEBD32D358}" type="presOf" srcId="{1848D6E5-951D-431B-96E4-675C0B4EC5EC}" destId="{3AEDCFCD-AB24-43C0-88D2-962A9A6302F3}" srcOrd="1" destOrd="0" presId="urn:microsoft.com/office/officeart/2005/8/layout/list1"/>
    <dgm:cxn modelId="{A8E28D71-1BC3-4207-BC32-D1CFE9A8E20B}" type="presOf" srcId="{34EC1585-2BDF-45AB-A4F3-82DEAFE8B0FF}" destId="{49A76717-7481-4C49-B155-B745FB88DF67}" srcOrd="1" destOrd="0" presId="urn:microsoft.com/office/officeart/2005/8/layout/list1"/>
    <dgm:cxn modelId="{9A626888-3B89-4069-AD21-CDF229A0F2E8}" srcId="{C51BEEBF-AE22-4308-987B-203F95F2E766}" destId="{1848D6E5-951D-431B-96E4-675C0B4EC5EC}" srcOrd="2" destOrd="0" parTransId="{FAAB202C-0A20-427B-8D61-F1EC0B0A1FF0}" sibTransId="{F121909F-74D0-4A0B-91B4-F0E22C388543}"/>
    <dgm:cxn modelId="{2041E288-430A-43DA-9D86-8E050ED77A9C}" type="presOf" srcId="{B28D3A44-239C-462B-9154-2DC213B0E8E6}" destId="{36291C3C-992D-4DA9-8C25-9E0AC54BE921}" srcOrd="0" destOrd="0" presId="urn:microsoft.com/office/officeart/2005/8/layout/list1"/>
    <dgm:cxn modelId="{D7F5E095-D914-40EC-BD16-DFE80802A169}" type="presOf" srcId="{B28D3A44-239C-462B-9154-2DC213B0E8E6}" destId="{27F45081-9F90-4CAD-9032-34C75D84668D}" srcOrd="1" destOrd="0" presId="urn:microsoft.com/office/officeart/2005/8/layout/list1"/>
    <dgm:cxn modelId="{95236F9C-C81C-4393-963F-9B53EA6E9522}" type="presOf" srcId="{C51BEEBF-AE22-4308-987B-203F95F2E766}" destId="{9335DD2E-F39A-4896-B610-96AF1FC194F1}" srcOrd="0" destOrd="0" presId="urn:microsoft.com/office/officeart/2005/8/layout/list1"/>
    <dgm:cxn modelId="{E84200D5-3C1B-4E72-8F1F-1B9E7DC32262}" srcId="{C51BEEBF-AE22-4308-987B-203F95F2E766}" destId="{B28D3A44-239C-462B-9154-2DC213B0E8E6}" srcOrd="0" destOrd="0" parTransId="{315ACDA2-6CEE-4515-BD8A-2D02841CEA66}" sibTransId="{1961633F-F948-4668-9249-23E8AA90125E}"/>
    <dgm:cxn modelId="{D7B027EB-33F9-4E52-B1F0-E6BBD19CF859}" type="presOf" srcId="{10636D6F-B34C-4C86-8582-C288FAA32FAE}" destId="{D2442B77-5878-4440-984A-42B7E98CA22C}" srcOrd="1" destOrd="0" presId="urn:microsoft.com/office/officeart/2005/8/layout/list1"/>
    <dgm:cxn modelId="{BF634C2E-5BCE-4A37-99C2-46462E6DDADE}" type="presParOf" srcId="{9335DD2E-F39A-4896-B610-96AF1FC194F1}" destId="{49F2FD54-6C0A-4FF6-B638-1781A9E4E85C}" srcOrd="0" destOrd="0" presId="urn:microsoft.com/office/officeart/2005/8/layout/list1"/>
    <dgm:cxn modelId="{50D941BB-C143-44E7-8609-850A86886099}" type="presParOf" srcId="{49F2FD54-6C0A-4FF6-B638-1781A9E4E85C}" destId="{36291C3C-992D-4DA9-8C25-9E0AC54BE921}" srcOrd="0" destOrd="0" presId="urn:microsoft.com/office/officeart/2005/8/layout/list1"/>
    <dgm:cxn modelId="{ACDF5379-9DFA-411B-B15C-21B293BA1BF7}" type="presParOf" srcId="{49F2FD54-6C0A-4FF6-B638-1781A9E4E85C}" destId="{27F45081-9F90-4CAD-9032-34C75D84668D}" srcOrd="1" destOrd="0" presId="urn:microsoft.com/office/officeart/2005/8/layout/list1"/>
    <dgm:cxn modelId="{738B0E11-578C-43C7-9B49-674020020097}" type="presParOf" srcId="{9335DD2E-F39A-4896-B610-96AF1FC194F1}" destId="{6BBC891F-6BE2-4138-BE3B-6BAE274B7E53}" srcOrd="1" destOrd="0" presId="urn:microsoft.com/office/officeart/2005/8/layout/list1"/>
    <dgm:cxn modelId="{5CCA7DB0-645E-4653-B96D-A54E032FFBD2}" type="presParOf" srcId="{9335DD2E-F39A-4896-B610-96AF1FC194F1}" destId="{A4464808-8D74-4D1C-8DBD-980F50C0AFB9}" srcOrd="2" destOrd="0" presId="urn:microsoft.com/office/officeart/2005/8/layout/list1"/>
    <dgm:cxn modelId="{9729A78A-0EFB-43D2-8EBB-044B683FB239}" type="presParOf" srcId="{9335DD2E-F39A-4896-B610-96AF1FC194F1}" destId="{970B5761-B2CC-42C0-867B-94DB2C512D6F}" srcOrd="3" destOrd="0" presId="urn:microsoft.com/office/officeart/2005/8/layout/list1"/>
    <dgm:cxn modelId="{649D8AA3-542C-4D2E-864C-5971BB819987}" type="presParOf" srcId="{9335DD2E-F39A-4896-B610-96AF1FC194F1}" destId="{E9A3A5E7-0CEC-4EFC-A815-63F65BC07535}" srcOrd="4" destOrd="0" presId="urn:microsoft.com/office/officeart/2005/8/layout/list1"/>
    <dgm:cxn modelId="{8EB00891-01FD-43F9-A28F-8AB877A2ABB7}" type="presParOf" srcId="{E9A3A5E7-0CEC-4EFC-A815-63F65BC07535}" destId="{8D38B23F-1C42-493F-ABBB-023C2172C292}" srcOrd="0" destOrd="0" presId="urn:microsoft.com/office/officeart/2005/8/layout/list1"/>
    <dgm:cxn modelId="{12FAE397-D2E9-4CA2-8559-66A68FDE7135}" type="presParOf" srcId="{E9A3A5E7-0CEC-4EFC-A815-63F65BC07535}" destId="{49A76717-7481-4C49-B155-B745FB88DF67}" srcOrd="1" destOrd="0" presId="urn:microsoft.com/office/officeart/2005/8/layout/list1"/>
    <dgm:cxn modelId="{738408BA-3A75-4B72-A043-181610901484}" type="presParOf" srcId="{9335DD2E-F39A-4896-B610-96AF1FC194F1}" destId="{7BF41331-DA7E-4891-93FF-6C02D9F74296}" srcOrd="5" destOrd="0" presId="urn:microsoft.com/office/officeart/2005/8/layout/list1"/>
    <dgm:cxn modelId="{8D652FC3-9320-41C2-A9E5-6DCD287DBBA7}" type="presParOf" srcId="{9335DD2E-F39A-4896-B610-96AF1FC194F1}" destId="{359160CD-0698-41E6-A91D-B05AB9562545}" srcOrd="6" destOrd="0" presId="urn:microsoft.com/office/officeart/2005/8/layout/list1"/>
    <dgm:cxn modelId="{C943B416-FAAA-4D60-BBF5-AD1C73B5BC11}" type="presParOf" srcId="{9335DD2E-F39A-4896-B610-96AF1FC194F1}" destId="{EF669897-368A-40D7-8306-60993521C77B}" srcOrd="7" destOrd="0" presId="urn:microsoft.com/office/officeart/2005/8/layout/list1"/>
    <dgm:cxn modelId="{3720890C-960F-436C-8372-39EC09D62407}" type="presParOf" srcId="{9335DD2E-F39A-4896-B610-96AF1FC194F1}" destId="{03EB6ACF-493D-4AF8-949E-65207E464F02}" srcOrd="8" destOrd="0" presId="urn:microsoft.com/office/officeart/2005/8/layout/list1"/>
    <dgm:cxn modelId="{F8D37EA5-0448-4481-A169-1CAEBF551077}" type="presParOf" srcId="{03EB6ACF-493D-4AF8-949E-65207E464F02}" destId="{9E690A14-1462-4666-A2CA-9B083D1F4EA8}" srcOrd="0" destOrd="0" presId="urn:microsoft.com/office/officeart/2005/8/layout/list1"/>
    <dgm:cxn modelId="{6ACFD8D0-1EA9-40D3-B3C3-8D813AAE39AC}" type="presParOf" srcId="{03EB6ACF-493D-4AF8-949E-65207E464F02}" destId="{3AEDCFCD-AB24-43C0-88D2-962A9A6302F3}" srcOrd="1" destOrd="0" presId="urn:microsoft.com/office/officeart/2005/8/layout/list1"/>
    <dgm:cxn modelId="{B5199714-7AF8-4AAE-B1B1-D2D8F19E371E}" type="presParOf" srcId="{9335DD2E-F39A-4896-B610-96AF1FC194F1}" destId="{C6CB3D8C-ECAD-41CE-8E55-C1A146F49354}" srcOrd="9" destOrd="0" presId="urn:microsoft.com/office/officeart/2005/8/layout/list1"/>
    <dgm:cxn modelId="{16840152-8FB6-45CD-8B3E-2AD578AFAEEC}" type="presParOf" srcId="{9335DD2E-F39A-4896-B610-96AF1FC194F1}" destId="{7AD16369-3D6E-4328-8F92-2B66BC320C71}" srcOrd="10" destOrd="0" presId="urn:microsoft.com/office/officeart/2005/8/layout/list1"/>
    <dgm:cxn modelId="{00B39943-968A-480E-8459-012687B73931}" type="presParOf" srcId="{9335DD2E-F39A-4896-B610-96AF1FC194F1}" destId="{D4B367D3-AD7C-4D10-BA08-C64AA76B2605}" srcOrd="11" destOrd="0" presId="urn:microsoft.com/office/officeart/2005/8/layout/list1"/>
    <dgm:cxn modelId="{CF423E27-7309-4BD7-AE04-EE00A1B1DF9A}" type="presParOf" srcId="{9335DD2E-F39A-4896-B610-96AF1FC194F1}" destId="{43E0851A-50EA-40D6-BDA5-8A2504C35393}" srcOrd="12" destOrd="0" presId="urn:microsoft.com/office/officeart/2005/8/layout/list1"/>
    <dgm:cxn modelId="{38BA8DE2-E1D1-4EC8-843D-ED2DFC9CDD45}" type="presParOf" srcId="{43E0851A-50EA-40D6-BDA5-8A2504C35393}" destId="{3D77D12C-E102-41DA-B219-830C0797906F}" srcOrd="0" destOrd="0" presId="urn:microsoft.com/office/officeart/2005/8/layout/list1"/>
    <dgm:cxn modelId="{261AD3F8-2F7E-44E6-9833-C78A53A55BA7}" type="presParOf" srcId="{43E0851A-50EA-40D6-BDA5-8A2504C35393}" destId="{D2442B77-5878-4440-984A-42B7E98CA22C}" srcOrd="1" destOrd="0" presId="urn:microsoft.com/office/officeart/2005/8/layout/list1"/>
    <dgm:cxn modelId="{7ED8E4AC-0C76-42C3-81FB-5BDD00CD7819}" type="presParOf" srcId="{9335DD2E-F39A-4896-B610-96AF1FC194F1}" destId="{348C1E1B-CC71-4ACF-BCBD-0F372D3963DE}" srcOrd="13" destOrd="0" presId="urn:microsoft.com/office/officeart/2005/8/layout/list1"/>
    <dgm:cxn modelId="{68B2431B-C327-4F7F-A402-4D4C917987BA}" type="presParOf" srcId="{9335DD2E-F39A-4896-B610-96AF1FC194F1}" destId="{547D029E-7276-4740-BC28-F4ECE3C7E1C7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1B3BE1-1C7D-554A-BAA3-D5AE74C7A792}">
      <dsp:nvSpPr>
        <dsp:cNvPr id="0" name=""/>
        <dsp:cNvSpPr/>
      </dsp:nvSpPr>
      <dsp:spPr>
        <a:xfrm>
          <a:off x="1280" y="0"/>
          <a:ext cx="2496761" cy="889910"/>
        </a:xfrm>
        <a:prstGeom prst="homePlate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reate the item profile</a:t>
          </a:r>
        </a:p>
      </dsp:txBody>
      <dsp:txXfrm>
        <a:off x="1280" y="0"/>
        <a:ext cx="2274284" cy="889910"/>
      </dsp:txXfrm>
    </dsp:sp>
    <dsp:sp modelId="{CA708076-D827-8D47-AB12-416B1ABE08BE}">
      <dsp:nvSpPr>
        <dsp:cNvPr id="0" name=""/>
        <dsp:cNvSpPr/>
      </dsp:nvSpPr>
      <dsp:spPr>
        <a:xfrm>
          <a:off x="1998689" y="0"/>
          <a:ext cx="2496761" cy="88991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reate the user profile </a:t>
          </a:r>
        </a:p>
      </dsp:txBody>
      <dsp:txXfrm>
        <a:off x="2443644" y="0"/>
        <a:ext cx="1606851" cy="889910"/>
      </dsp:txXfrm>
    </dsp:sp>
    <dsp:sp modelId="{450FE5AB-18C1-A24B-BE6B-4FD5B49ACBBA}">
      <dsp:nvSpPr>
        <dsp:cNvPr id="0" name=""/>
        <dsp:cNvSpPr/>
      </dsp:nvSpPr>
      <dsp:spPr>
        <a:xfrm>
          <a:off x="3996097" y="0"/>
          <a:ext cx="2496761" cy="88991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Normalize Ratings</a:t>
          </a:r>
        </a:p>
      </dsp:txBody>
      <dsp:txXfrm>
        <a:off x="4441052" y="0"/>
        <a:ext cx="1606851" cy="889910"/>
      </dsp:txXfrm>
    </dsp:sp>
    <dsp:sp modelId="{0C24C73C-5801-D14D-9AC3-20180ABDB0D5}">
      <dsp:nvSpPr>
        <dsp:cNvPr id="0" name=""/>
        <dsp:cNvSpPr/>
      </dsp:nvSpPr>
      <dsp:spPr>
        <a:xfrm>
          <a:off x="5993506" y="0"/>
          <a:ext cx="2496761" cy="88991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Make Predictions</a:t>
          </a:r>
        </a:p>
      </dsp:txBody>
      <dsp:txXfrm>
        <a:off x="6438461" y="0"/>
        <a:ext cx="1606851" cy="889910"/>
      </dsp:txXfrm>
    </dsp:sp>
    <dsp:sp modelId="{C77F9BE3-428D-7848-AD75-7B9FB75CC2ED}">
      <dsp:nvSpPr>
        <dsp:cNvPr id="0" name=""/>
        <dsp:cNvSpPr/>
      </dsp:nvSpPr>
      <dsp:spPr>
        <a:xfrm>
          <a:off x="7990915" y="0"/>
          <a:ext cx="2496761" cy="88991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Recommendation</a:t>
          </a:r>
        </a:p>
      </dsp:txBody>
      <dsp:txXfrm>
        <a:off x="8435870" y="0"/>
        <a:ext cx="1606851" cy="88991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54BA5D-67CA-4E43-8EA5-C58C30E8BE8D}">
      <dsp:nvSpPr>
        <dsp:cNvPr id="0" name=""/>
        <dsp:cNvSpPr/>
      </dsp:nvSpPr>
      <dsp:spPr>
        <a:xfrm>
          <a:off x="4550073" y="199771"/>
          <a:ext cx="2789550" cy="18597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cap="all" baseline="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Memory-based Collaborative filtering</a:t>
          </a:r>
          <a:endParaRPr lang="en-IN" sz="1800" kern="1200" cap="all" baseline="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4604542" y="254240"/>
        <a:ext cx="2680612" cy="1750762"/>
      </dsp:txXfrm>
    </dsp:sp>
    <dsp:sp modelId="{46C515FE-9694-4B90-A65D-DACDAEE3AF34}">
      <dsp:nvSpPr>
        <dsp:cNvPr id="0" name=""/>
        <dsp:cNvSpPr/>
      </dsp:nvSpPr>
      <dsp:spPr>
        <a:xfrm>
          <a:off x="2880443" y="2059472"/>
          <a:ext cx="3064405" cy="743880"/>
        </a:xfrm>
        <a:custGeom>
          <a:avLst/>
          <a:gdLst/>
          <a:ahLst/>
          <a:cxnLst/>
          <a:rect l="0" t="0" r="0" b="0"/>
          <a:pathLst>
            <a:path>
              <a:moveTo>
                <a:pt x="3064405" y="0"/>
              </a:moveTo>
              <a:lnTo>
                <a:pt x="3064405" y="371940"/>
              </a:lnTo>
              <a:lnTo>
                <a:pt x="0" y="371940"/>
              </a:lnTo>
              <a:lnTo>
                <a:pt x="0" y="74388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B82CF2-D77D-4CFD-9875-DBD48FC9A6B8}">
      <dsp:nvSpPr>
        <dsp:cNvPr id="0" name=""/>
        <dsp:cNvSpPr/>
      </dsp:nvSpPr>
      <dsp:spPr>
        <a:xfrm>
          <a:off x="441" y="2803352"/>
          <a:ext cx="5760003" cy="18597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cap="all" baseline="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       User-based</a:t>
          </a:r>
          <a:endParaRPr lang="en-IN" sz="1800" kern="1200" cap="all" baseline="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54910" y="2857821"/>
        <a:ext cx="5651065" cy="1750762"/>
      </dsp:txXfrm>
    </dsp:sp>
    <dsp:sp modelId="{A4E99B29-CC0E-4FA2-A23C-761DBA2D4701}">
      <dsp:nvSpPr>
        <dsp:cNvPr id="0" name=""/>
        <dsp:cNvSpPr/>
      </dsp:nvSpPr>
      <dsp:spPr>
        <a:xfrm>
          <a:off x="5944849" y="2059472"/>
          <a:ext cx="3298434" cy="7438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1940"/>
              </a:lnTo>
              <a:lnTo>
                <a:pt x="3298434" y="371940"/>
              </a:lnTo>
              <a:lnTo>
                <a:pt x="3298434" y="74388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DBAE25-3C06-41F5-A04C-583C272185BB}">
      <dsp:nvSpPr>
        <dsp:cNvPr id="0" name=""/>
        <dsp:cNvSpPr/>
      </dsp:nvSpPr>
      <dsp:spPr>
        <a:xfrm>
          <a:off x="6597310" y="2803352"/>
          <a:ext cx="5291945" cy="18597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cap="all" baseline="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                                                      Item-based</a:t>
          </a:r>
          <a:endParaRPr lang="en-IN" sz="1800" kern="1200" cap="all" baseline="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651779" y="2857821"/>
        <a:ext cx="5183007" cy="17507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464808-8D74-4D1C-8DBD-980F50C0AFB9}">
      <dsp:nvSpPr>
        <dsp:cNvPr id="0" name=""/>
        <dsp:cNvSpPr/>
      </dsp:nvSpPr>
      <dsp:spPr>
        <a:xfrm>
          <a:off x="0" y="402865"/>
          <a:ext cx="4572000" cy="65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F45081-9F90-4CAD-9032-34C75D84668D}">
      <dsp:nvSpPr>
        <dsp:cNvPr id="0" name=""/>
        <dsp:cNvSpPr/>
      </dsp:nvSpPr>
      <dsp:spPr>
        <a:xfrm>
          <a:off x="228600" y="19105"/>
          <a:ext cx="3200400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68" tIns="0" rIns="120968" bIns="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latin typeface="Daimle cs"/>
            </a:rPr>
            <a:t>Conclusion</a:t>
          </a:r>
        </a:p>
      </dsp:txBody>
      <dsp:txXfrm>
        <a:off x="266067" y="56572"/>
        <a:ext cx="3125466" cy="692586"/>
      </dsp:txXfrm>
    </dsp:sp>
    <dsp:sp modelId="{359160CD-0698-41E6-A91D-B05AB9562545}">
      <dsp:nvSpPr>
        <dsp:cNvPr id="0" name=""/>
        <dsp:cNvSpPr/>
      </dsp:nvSpPr>
      <dsp:spPr>
        <a:xfrm>
          <a:off x="0" y="1582225"/>
          <a:ext cx="4572000" cy="65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A76717-7481-4C49-B155-B745FB88DF67}">
      <dsp:nvSpPr>
        <dsp:cNvPr id="0" name=""/>
        <dsp:cNvSpPr/>
      </dsp:nvSpPr>
      <dsp:spPr>
        <a:xfrm>
          <a:off x="228600" y="1198465"/>
          <a:ext cx="3200400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68" tIns="0" rIns="120968" bIns="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latin typeface="Daimle cs"/>
            </a:rPr>
            <a:t>Recommendation</a:t>
          </a:r>
        </a:p>
      </dsp:txBody>
      <dsp:txXfrm>
        <a:off x="266067" y="1235932"/>
        <a:ext cx="3125466" cy="692586"/>
      </dsp:txXfrm>
    </dsp:sp>
    <dsp:sp modelId="{7AD16369-3D6E-4328-8F92-2B66BC320C71}">
      <dsp:nvSpPr>
        <dsp:cNvPr id="0" name=""/>
        <dsp:cNvSpPr/>
      </dsp:nvSpPr>
      <dsp:spPr>
        <a:xfrm>
          <a:off x="0" y="2761585"/>
          <a:ext cx="4572000" cy="65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EDCFCD-AB24-43C0-88D2-962A9A6302F3}">
      <dsp:nvSpPr>
        <dsp:cNvPr id="0" name=""/>
        <dsp:cNvSpPr/>
      </dsp:nvSpPr>
      <dsp:spPr>
        <a:xfrm>
          <a:off x="228600" y="2377826"/>
          <a:ext cx="3200400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68" tIns="0" rIns="120968" bIns="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latin typeface="Daimle cs"/>
            </a:rPr>
            <a:t>Overall Learnings</a:t>
          </a:r>
        </a:p>
      </dsp:txBody>
      <dsp:txXfrm>
        <a:off x="266067" y="2415293"/>
        <a:ext cx="3125466" cy="692586"/>
      </dsp:txXfrm>
    </dsp:sp>
    <dsp:sp modelId="{547D029E-7276-4740-BC28-F4ECE3C7E1C7}">
      <dsp:nvSpPr>
        <dsp:cNvPr id="0" name=""/>
        <dsp:cNvSpPr/>
      </dsp:nvSpPr>
      <dsp:spPr>
        <a:xfrm>
          <a:off x="0" y="3940946"/>
          <a:ext cx="4572000" cy="65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2442B77-5878-4440-984A-42B7E98CA22C}">
      <dsp:nvSpPr>
        <dsp:cNvPr id="0" name=""/>
        <dsp:cNvSpPr/>
      </dsp:nvSpPr>
      <dsp:spPr>
        <a:xfrm>
          <a:off x="228600" y="3557185"/>
          <a:ext cx="3200400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68" tIns="0" rIns="120968" bIns="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latin typeface="Daimle cs"/>
            </a:rPr>
            <a:t>Next Step</a:t>
          </a:r>
        </a:p>
      </dsp:txBody>
      <dsp:txXfrm>
        <a:off x="266067" y="3594652"/>
        <a:ext cx="3125466" cy="6925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9333BD0-7962-B04A-8E72-AD5168F631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6B94C6-1659-0D42-8942-DAD6793A09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9C6931-D0F6-AB40-9D7F-95567148A5C2}" type="datetimeFigureOut">
              <a:rPr lang="en-US" smtClean="0"/>
              <a:t>12/7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E64BEA-E2E4-BF48-8CF7-45787CAA5A0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39BBDE-4EF8-F14C-8AE0-73BF9B0C336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F64436-003E-284C-9347-5BCE374565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3386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6C18F2-6801-5147-A332-A6E1C7D69D18}" type="datetimeFigureOut">
              <a:rPr lang="en-US" smtClean="0"/>
              <a:t>12/7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CF60EF-C37D-4D44-90AD-6140AB570E4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8248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to calculate the important genres of the movi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6030BD-DADD-B94A-8C67-9C5CEE584D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49469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E1A813A5-67F0-4243-99EA-ADDCF39402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2875" b="2875"/>
          <a:stretch/>
        </p:blipFill>
        <p:spPr>
          <a:xfrm>
            <a:off x="6152018" y="-67236"/>
            <a:ext cx="4932281" cy="6973083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05B91357-5C4C-6749-B294-84C6AE7509D5}"/>
              </a:ext>
            </a:extLst>
          </p:cNvPr>
          <p:cNvSpPr/>
          <p:nvPr userDrawn="1"/>
        </p:nvSpPr>
        <p:spPr>
          <a:xfrm>
            <a:off x="11057641" y="-94129"/>
            <a:ext cx="1268052" cy="6973083"/>
          </a:xfrm>
          <a:prstGeom prst="rect">
            <a:avLst/>
          </a:prstGeom>
          <a:solidFill>
            <a:srgbClr val="FC68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EFD9D4D-26CF-1B40-9449-C3AAAE20A4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384" y="4415481"/>
            <a:ext cx="5421167" cy="307777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E225A074-EFE6-D641-B858-30CD052255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32754"/>
            <a:ext cx="12192000" cy="1346199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B976E4-ABDA-F340-8D30-F24D2053CE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9384" y="884321"/>
            <a:ext cx="5421167" cy="2585323"/>
          </a:xfrm>
          <a:prstGeom prst="rect">
            <a:avLst/>
          </a:prstGeom>
          <a:noFill/>
        </p:spPr>
        <p:txBody>
          <a:bodyPr wrap="square"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0388744-69EF-D44B-97D2-6D2F60890F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384" y="4927101"/>
            <a:ext cx="5421167" cy="33855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>
              <a:buNone/>
              <a:defRPr sz="2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075D6DC-3071-304F-BE8D-FC99BB1B67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48959" y="145901"/>
            <a:ext cx="601912" cy="229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3577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019EE-D1C7-42C1-8363-FBD58AB80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45A0D8-F401-4B58-8094-17BDD6EAC1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4ECD6A-3452-4AB6-815C-57C0B2261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FEA59E-E06A-407C-A293-D1BD008EF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A34C62-6E9F-467A-837A-1A676D4AAC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26902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4D63D-E397-460D-B7B1-744EBD1F9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5366F6-37AA-48BF-8EE4-BC28974826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2203C7-1B4C-402F-911F-4AF57BC104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B3C103-BCC6-44FC-BFF8-275FD18AC4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A0EFA-CD19-4AC3-85A5-8357EF148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1530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2E71-CA10-4262-8DE4-D739877C2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A7483-17B8-4225-A7FC-3570B2A88C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4806E56-93EA-44AE-A542-C4D8F60CA5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88FB6F-0D6B-4E90-A59F-51E149E911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DDA2DF-E391-4489-A676-5B8762ECF4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A1C662-0BD2-4088-A65F-5A819437E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975664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5B333-7267-4816-AEEA-EC87739C8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51D6E0-3D20-4101-85F2-56B3409D88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2827EF-06E0-4149-BC34-4AB9E365D5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6B13BC-DC90-4143-AA8D-4198CE74AC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CD603ED-0EDE-4749-80E4-6A77C34CA4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4BA45C-264C-474B-842F-11CE63DF2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20BE9C-FCA0-45B1-9369-E10DA596F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FA721D8-3E6B-4089-82B7-45DA75D00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68705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6DAFD1-BFED-42DF-89FD-DC90A1961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D62910F-709E-485C-89A7-18B21A0081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0D1A5F-8308-4F84-BC07-54E1BB5DC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54983-E8C5-44EE-90F7-B5C632F65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34996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059467-B07E-4A8D-9805-A11E6B4F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EED426-332F-4EB6-AD33-62A0DC51F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A2BC92-5D55-425D-8A8C-10BCE43B00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520843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086C37-048D-48E3-B6E8-DA3A299B6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6A3E55-4353-426A-B9F2-84B75EC15B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5B9178-BD79-4568-9BBB-2042CEAAF4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ED7765-F853-4363-9165-1F90D41F1F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EB0CD6-D22A-4E94-8BBF-81BD5A9D8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DA3DCD-3B62-42FC-B0CB-93AB6319E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9793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B1F6A-7411-430A-A6CE-70E8C0275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734203-D1F8-474B-8929-584BDACD30B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1849C6-470B-470A-A22A-CF9AEC3F84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11CFC0-BD1B-4AF7-A4A3-9F363582BA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353C83-AF54-4824-A728-3B4F622E4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7A7F7E-4312-4C4C-9780-01B3482DA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507925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A1935F-DFDE-429C-ABF1-A0520E1F1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FF1DA7-DD13-4AD0-8C9A-10168154D0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9279A4-35E5-4733-8C74-68C707A6F9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87AD2C-5828-460C-B104-683375A251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76CC57-4463-4023-AE16-662E89047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739318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48A0EB6-D6AF-48C2-936B-236499F5FA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CE87BB-FFEA-4ECD-86E5-382449CFD7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944E1C-0DB1-4F41-A629-EBED8A5A63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A5005-9237-4C57-BEE3-08C4129DBC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F1F99B-5BA7-4409-B511-1647CA245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219268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787F5F2-501C-424A-9865-0DE5CE4A13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2086" y="987157"/>
            <a:ext cx="3607765" cy="452286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Main Head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227BE32-0205-E84F-BDBB-EF64671787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6704" y="1741012"/>
            <a:ext cx="7525333" cy="622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/>
            </a:lvl1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076F031-AF81-DC40-9A1C-C60C936724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8701" y="2560825"/>
            <a:ext cx="7533337" cy="2949193"/>
          </a:xfrm>
          <a:prstGeom prst="rect">
            <a:avLst/>
          </a:prstGeom>
        </p:spPr>
        <p:txBody>
          <a:bodyPr/>
          <a:lstStyle>
            <a:lvl1pPr marL="304792" indent="-296326"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2667"/>
            </a:lvl1pPr>
            <a:lvl2pPr marL="535504" indent="-230712">
              <a:buClr>
                <a:srgbClr val="E46102"/>
              </a:buClr>
              <a:buSzPct val="100000"/>
              <a:buFont typeface="Arial" panose="020B0604020202020204" pitchFamily="34" charset="0"/>
              <a:buChar char="•"/>
              <a:tabLst/>
              <a:defRPr sz="2400"/>
            </a:lvl2pPr>
            <a:lvl3pPr marL="840296" indent="-230712">
              <a:buClr>
                <a:srgbClr val="E46102"/>
              </a:buClr>
              <a:buSzPct val="100000"/>
              <a:buFont typeface="Wingdings" pitchFamily="2" charset="2"/>
              <a:buChar char="§"/>
              <a:tabLst/>
              <a:defRPr sz="2133"/>
            </a:lvl3pPr>
            <a:lvl4pPr marL="1073124" indent="-232828">
              <a:buClr>
                <a:srgbClr val="D95E00"/>
              </a:buClr>
              <a:buFont typeface="System Font Regular"/>
              <a:buChar char="&gt;"/>
              <a:tabLst/>
              <a:defRPr sz="1867"/>
            </a:lvl4pPr>
            <a:lvl5pPr marL="1301717" indent="-228594">
              <a:buClr>
                <a:srgbClr val="D95E00"/>
              </a:buClr>
              <a:buFont typeface="Wingdings" pitchFamily="2" charset="2"/>
              <a:buChar char="§"/>
              <a:tabLst/>
              <a:defRPr sz="1600"/>
            </a:lvl5pPr>
            <a:lvl6pPr marL="1295368" indent="0">
              <a:buClr>
                <a:srgbClr val="D95E00"/>
              </a:buClr>
              <a:buFont typeface="System Font Regular"/>
              <a:buNone/>
              <a:tabLst/>
              <a:defRPr sz="1467"/>
            </a:lvl6pPr>
            <a:lvl7pPr marL="1526078" indent="0">
              <a:buClr>
                <a:srgbClr val="D95E00"/>
              </a:buClr>
              <a:buFont typeface="Wingdings" pitchFamily="2" charset="2"/>
              <a:buNone/>
              <a:tabLst/>
              <a:defRPr sz="1333"/>
            </a:lvl7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Click to add sub-bullet</a:t>
            </a:r>
          </a:p>
          <a:p>
            <a:pPr lvl="2"/>
            <a:r>
              <a:rPr lang="en-US" dirty="0"/>
              <a:t>Click to add sub-sub-bullet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1383E86-B978-174B-B3F5-A6CC484326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0"/>
            <a:ext cx="12192000" cy="13462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856AB1-AAB5-DD41-A548-FB33E6E9490C}"/>
              </a:ext>
            </a:extLst>
          </p:cNvPr>
          <p:cNvCxnSpPr/>
          <p:nvPr userDrawn="1"/>
        </p:nvCxnSpPr>
        <p:spPr>
          <a:xfrm>
            <a:off x="272085" y="512494"/>
            <a:ext cx="267474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1BF8741-1247-824C-927C-EC3E8FDB5013}"/>
              </a:ext>
            </a:extLst>
          </p:cNvPr>
          <p:cNvCxnSpPr/>
          <p:nvPr userDrawn="1"/>
        </p:nvCxnSpPr>
        <p:spPr>
          <a:xfrm>
            <a:off x="3376635" y="512494"/>
            <a:ext cx="8485403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82223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DB294-7893-3046-9EA5-AFB1D5B690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5C56FC-9C07-1F47-A9BE-3159516961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244726-264F-5C47-93A9-F938CF97D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EFA264-01DA-1C4D-9793-A49EE5894F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4119F7-BEB0-134C-ACA0-BB8E10EB5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2205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FD73E-6A46-1646-ADA8-9050D8043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E0AEB4-8680-3442-8381-75234AE56D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E8B42D-8016-C64A-A213-17CCFA9086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C866BF-5A4A-1A4B-B963-488B5A098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C151B-964A-5F40-AB96-CBF68BFCC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2248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E76F3A-760D-784A-BFCC-2468CE00E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C20264-9B70-8B40-B97B-AF49DCAA8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634B99-BAE3-EC49-813F-EB9CD99B41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13362-A822-6B44-B6D9-08661CED0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7B3690-A675-564F-8B73-D47A152693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668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8768DC-3EFB-1C45-ACB2-645CAC2D75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C34CD-4DCB-DB47-9B55-6BE51A1EC6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2EC04E-9E71-2A4C-8F18-511EE97EC3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AC0A58-7D66-CD44-8E80-DD9B45E27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D37283-96BB-CA49-9D96-F3BB6E5ED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44E538-EA3B-EF4C-8007-D4036572C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3958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394A2-A5BB-2247-B9A5-369DE5046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168497-E401-4941-9A9A-37375C893F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3F550E-EA5B-7344-B7FE-84193DD208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F8F586-1AEA-E346-99A0-1ABE94B892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5A3EFF-86A3-2D41-B72D-6BED62D96F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91E9BC0-908E-B94C-B896-CDB55BC25A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3D8237F-BD16-1B4A-9367-63666EF2A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A1A200-04F8-544E-ACE3-F4D5011C6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5045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2B3DC-6858-1F4A-96FD-88B305557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4EF738-19BC-864B-A537-181801CF9B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3F5CA4-8BAA-574C-AD47-B12278193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999FDE-58E0-A448-8CBC-119B2B075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3119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6F3831-26E6-D849-BC9B-E3A2717D06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DE17C5-1310-DB41-8B3D-7EE81433F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9BAF5-2729-664A-A341-7E5F40B90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578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6218D8-FF2B-CA4E-BFE7-586878010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D7206B-9896-0944-AA72-C0E91E09E6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215D44-51EB-D542-BCA4-1C049695E9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AB47FA-C161-4544-9465-AEA347D65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2E3FBA-2F55-4D42-8745-B0103F426E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C282BD-E2B1-1F42-8090-9C5B9EA41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0359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B715D-0DE9-9747-8C47-C3A13740F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176E89-61AA-8B4A-88CE-6BF0F2C284E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C27314-ABC7-2D4F-9280-B3D051AD84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345C7D-0367-8342-B225-85F38D9A0F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9D4368-2879-D24F-8B24-35FCADB8B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20CB32-04D5-5A4C-B332-E0FA84C72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127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1D6CC-0367-E144-A85F-C9218E524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024C4F-2CBE-2E42-BF19-016793D5BC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9EA07A-93C5-CE44-B173-07E90C6F4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C87285-D127-6241-A532-C06B51572C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38614F-40B2-7D45-803F-18C3B0D11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4586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AC8303E-CB79-A645-BEF9-D0CD24C49717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CA4F9A6-C8EF-1F4A-8155-1567273829D2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1383E86-B978-174B-B3F5-A6CC484326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0A3470E-8125-0E4C-8D9E-AE498C694D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2085" y="958452"/>
            <a:ext cx="11589952" cy="6963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06909BC-83A5-ED42-AE34-D78DAEC3F2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2085" y="1744225"/>
            <a:ext cx="11589952" cy="3767575"/>
          </a:xfrm>
          <a:prstGeom prst="rect">
            <a:avLst/>
          </a:prstGeom>
        </p:spPr>
        <p:txBody>
          <a:bodyPr/>
          <a:lstStyle>
            <a:lvl1pPr marL="304792" indent="-304792"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3200" b="1"/>
            </a:lvl1pPr>
            <a:lvl2pPr marL="609585" indent="-304792">
              <a:buClr>
                <a:srgbClr val="E46102"/>
              </a:buClr>
              <a:buFont typeface="Arial" panose="020B0604020202020204" pitchFamily="34" charset="0"/>
              <a:buChar char="•"/>
              <a:tabLst/>
              <a:defRPr sz="2667"/>
            </a:lvl2pPr>
            <a:lvl3pPr marL="914377" indent="-304792">
              <a:buClr>
                <a:srgbClr val="E46102"/>
              </a:buClr>
              <a:buSzPct val="100000"/>
              <a:buFont typeface="Wingdings" pitchFamily="2" charset="2"/>
              <a:buChar char="§"/>
              <a:tabLst/>
              <a:defRPr sz="2400"/>
            </a:lvl3pPr>
            <a:lvl4pPr marL="1221287" indent="-306910">
              <a:buClr>
                <a:srgbClr val="D95E00"/>
              </a:buClr>
              <a:buFont typeface="System Font Regular"/>
              <a:buChar char="&gt;"/>
              <a:tabLst/>
              <a:defRPr sz="2133"/>
            </a:lvl4pPr>
            <a:lvl5pPr marL="1526079" indent="-304792">
              <a:buClr>
                <a:srgbClr val="D95E00"/>
              </a:buClr>
              <a:buFont typeface="Wingdings" pitchFamily="2" charset="2"/>
              <a:buChar char="§"/>
              <a:tabLst/>
              <a:defRPr sz="1867"/>
            </a:lvl5pPr>
            <a:lvl6pPr marL="1756789" indent="-230712">
              <a:buClr>
                <a:srgbClr val="D95E00"/>
              </a:buClr>
              <a:buFont typeface="System Font Regular"/>
              <a:buChar char="&gt;"/>
              <a:tabLst/>
              <a:defRPr sz="1600"/>
            </a:lvl6pPr>
            <a:lvl7pPr marL="1904952" indent="-148163">
              <a:buClr>
                <a:srgbClr val="D95E00"/>
              </a:buClr>
              <a:buFont typeface="Wingdings" pitchFamily="2" charset="2"/>
              <a:buChar char="§"/>
              <a:tabLst/>
              <a:defRPr sz="1333"/>
            </a:lvl7pPr>
            <a:lvl8pPr marL="2061582" indent="-156629">
              <a:buClr>
                <a:srgbClr val="D95E00"/>
              </a:buClr>
              <a:buFont typeface="System Font Regular"/>
              <a:buChar char="&gt;"/>
              <a:tabLst/>
              <a:defRPr sz="1200"/>
            </a:lvl8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Click to add sub-bullet</a:t>
            </a:r>
          </a:p>
          <a:p>
            <a:pPr lvl="2"/>
            <a:r>
              <a:rPr lang="en-US" dirty="0"/>
              <a:t>Click to add sub-sub bullet</a:t>
            </a:r>
          </a:p>
        </p:txBody>
      </p:sp>
    </p:spTree>
    <p:extLst>
      <p:ext uri="{BB962C8B-B14F-4D97-AF65-F5344CB8AC3E}">
        <p14:creationId xmlns:p14="http://schemas.microsoft.com/office/powerpoint/2010/main" val="42921478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310BC47-D932-2940-A1A7-03531D9F59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1C2F9F-EC2A-3F43-A452-8E46DA584B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4ADB21-536B-E642-B563-EE98B0855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595553-075A-734A-A330-D5670050EA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35837F-8F2D-E44F-A3BD-A89BA9914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8650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E1A813A5-67F0-4243-99EA-ADDCF39402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2875" b="2875"/>
          <a:stretch/>
        </p:blipFill>
        <p:spPr>
          <a:xfrm>
            <a:off x="6152018" y="-67236"/>
            <a:ext cx="4932281" cy="6973083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05B91357-5C4C-6749-B294-84C6AE7509D5}"/>
              </a:ext>
            </a:extLst>
          </p:cNvPr>
          <p:cNvSpPr/>
          <p:nvPr userDrawn="1"/>
        </p:nvSpPr>
        <p:spPr>
          <a:xfrm>
            <a:off x="11057641" y="-94129"/>
            <a:ext cx="1268052" cy="6973083"/>
          </a:xfrm>
          <a:prstGeom prst="rect">
            <a:avLst/>
          </a:prstGeom>
          <a:solidFill>
            <a:srgbClr val="FC68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EFD9D4D-26CF-1B40-9449-C3AAAE20A4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384" y="4415481"/>
            <a:ext cx="5421167" cy="307777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E225A074-EFE6-D641-B858-30CD052255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32754"/>
            <a:ext cx="12192000" cy="1346199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B976E4-ABDA-F340-8D30-F24D2053CE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9384" y="884321"/>
            <a:ext cx="5421167" cy="2585323"/>
          </a:xfrm>
          <a:prstGeom prst="rect">
            <a:avLst/>
          </a:prstGeom>
          <a:noFill/>
        </p:spPr>
        <p:txBody>
          <a:bodyPr wrap="square"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0388744-69EF-D44B-97D2-6D2F60890F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384" y="4927101"/>
            <a:ext cx="5421167" cy="33855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>
              <a:buNone/>
              <a:defRPr sz="2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075D6DC-3071-304F-BE8D-FC99BB1B67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48959" y="145901"/>
            <a:ext cx="601912" cy="229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7544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787F5F2-501C-424A-9865-0DE5CE4A13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2086" y="987157"/>
            <a:ext cx="3607765" cy="452286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Main Head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227BE32-0205-E84F-BDBB-EF64671787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6704" y="1741012"/>
            <a:ext cx="7525333" cy="622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/>
            </a:lvl1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076F031-AF81-DC40-9A1C-C60C936724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8701" y="2560825"/>
            <a:ext cx="7533337" cy="2949193"/>
          </a:xfrm>
          <a:prstGeom prst="rect">
            <a:avLst/>
          </a:prstGeom>
        </p:spPr>
        <p:txBody>
          <a:bodyPr/>
          <a:lstStyle>
            <a:lvl1pPr marL="304792" indent="-296326"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2667"/>
            </a:lvl1pPr>
            <a:lvl2pPr marL="535504" indent="-230712">
              <a:buClr>
                <a:srgbClr val="E46102"/>
              </a:buClr>
              <a:buSzPct val="100000"/>
              <a:buFont typeface="Arial" panose="020B0604020202020204" pitchFamily="34" charset="0"/>
              <a:buChar char="•"/>
              <a:tabLst/>
              <a:defRPr sz="2400"/>
            </a:lvl2pPr>
            <a:lvl3pPr marL="840296" indent="-230712">
              <a:buClr>
                <a:srgbClr val="E46102"/>
              </a:buClr>
              <a:buSzPct val="100000"/>
              <a:buFont typeface="Wingdings" pitchFamily="2" charset="2"/>
              <a:buChar char="§"/>
              <a:tabLst/>
              <a:defRPr sz="2133"/>
            </a:lvl3pPr>
            <a:lvl4pPr marL="1073124" indent="-232828">
              <a:buClr>
                <a:srgbClr val="D95E00"/>
              </a:buClr>
              <a:buFont typeface="System Font Regular"/>
              <a:buChar char="&gt;"/>
              <a:tabLst/>
              <a:defRPr sz="1867"/>
            </a:lvl4pPr>
            <a:lvl5pPr marL="1301717" indent="-228594">
              <a:buClr>
                <a:srgbClr val="D95E00"/>
              </a:buClr>
              <a:buFont typeface="Wingdings" pitchFamily="2" charset="2"/>
              <a:buChar char="§"/>
              <a:tabLst/>
              <a:defRPr sz="1600"/>
            </a:lvl5pPr>
            <a:lvl6pPr marL="1295368" indent="0">
              <a:buClr>
                <a:srgbClr val="D95E00"/>
              </a:buClr>
              <a:buFont typeface="System Font Regular"/>
              <a:buNone/>
              <a:tabLst/>
              <a:defRPr sz="1467"/>
            </a:lvl6pPr>
            <a:lvl7pPr marL="1526078" indent="0">
              <a:buClr>
                <a:srgbClr val="D95E00"/>
              </a:buClr>
              <a:buFont typeface="Wingdings" pitchFamily="2" charset="2"/>
              <a:buNone/>
              <a:tabLst/>
              <a:defRPr sz="1333"/>
            </a:lvl7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Click to add sub-bullet</a:t>
            </a:r>
          </a:p>
          <a:p>
            <a:pPr lvl="2"/>
            <a:r>
              <a:rPr lang="en-US" dirty="0"/>
              <a:t>Click to add sub-sub-bullet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1383E86-B978-174B-B3F5-A6CC484326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0"/>
            <a:ext cx="12192000" cy="13462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856AB1-AAB5-DD41-A548-FB33E6E9490C}"/>
              </a:ext>
            </a:extLst>
          </p:cNvPr>
          <p:cNvCxnSpPr/>
          <p:nvPr userDrawn="1"/>
        </p:nvCxnSpPr>
        <p:spPr>
          <a:xfrm>
            <a:off x="272085" y="512494"/>
            <a:ext cx="267474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1BF8741-1247-824C-927C-EC3E8FDB5013}"/>
              </a:ext>
            </a:extLst>
          </p:cNvPr>
          <p:cNvCxnSpPr/>
          <p:nvPr userDrawn="1"/>
        </p:nvCxnSpPr>
        <p:spPr>
          <a:xfrm>
            <a:off x="3376635" y="512494"/>
            <a:ext cx="8485403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02983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AC8303E-CB79-A645-BEF9-D0CD24C49717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CA4F9A6-C8EF-1F4A-8155-1567273829D2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1383E86-B978-174B-B3F5-A6CC484326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0A3470E-8125-0E4C-8D9E-AE498C694D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2085" y="958452"/>
            <a:ext cx="11589952" cy="6963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06909BC-83A5-ED42-AE34-D78DAEC3F2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2085" y="1744225"/>
            <a:ext cx="11589952" cy="3767575"/>
          </a:xfrm>
          <a:prstGeom prst="rect">
            <a:avLst/>
          </a:prstGeom>
        </p:spPr>
        <p:txBody>
          <a:bodyPr/>
          <a:lstStyle>
            <a:lvl1pPr marL="304792" indent="-304792"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3200" b="1"/>
            </a:lvl1pPr>
            <a:lvl2pPr marL="609585" indent="-304792">
              <a:buClr>
                <a:srgbClr val="E46102"/>
              </a:buClr>
              <a:buFont typeface="Arial" panose="020B0604020202020204" pitchFamily="34" charset="0"/>
              <a:buChar char="•"/>
              <a:tabLst/>
              <a:defRPr sz="2667"/>
            </a:lvl2pPr>
            <a:lvl3pPr marL="914377" indent="-304792">
              <a:buClr>
                <a:srgbClr val="E46102"/>
              </a:buClr>
              <a:buSzPct val="100000"/>
              <a:buFont typeface="Wingdings" pitchFamily="2" charset="2"/>
              <a:buChar char="§"/>
              <a:tabLst/>
              <a:defRPr sz="2400"/>
            </a:lvl3pPr>
            <a:lvl4pPr marL="1221287" indent="-306910">
              <a:buClr>
                <a:srgbClr val="D95E00"/>
              </a:buClr>
              <a:buFont typeface="System Font Regular"/>
              <a:buChar char="&gt;"/>
              <a:tabLst/>
              <a:defRPr sz="2133"/>
            </a:lvl4pPr>
            <a:lvl5pPr marL="1526079" indent="-304792">
              <a:buClr>
                <a:srgbClr val="D95E00"/>
              </a:buClr>
              <a:buFont typeface="Wingdings" pitchFamily="2" charset="2"/>
              <a:buChar char="§"/>
              <a:tabLst/>
              <a:defRPr sz="1867"/>
            </a:lvl5pPr>
            <a:lvl6pPr marL="1756789" indent="-230712">
              <a:buClr>
                <a:srgbClr val="D95E00"/>
              </a:buClr>
              <a:buFont typeface="System Font Regular"/>
              <a:buChar char="&gt;"/>
              <a:tabLst/>
              <a:defRPr sz="1600"/>
            </a:lvl6pPr>
            <a:lvl7pPr marL="1904952" indent="-148163">
              <a:buClr>
                <a:srgbClr val="D95E00"/>
              </a:buClr>
              <a:buFont typeface="Wingdings" pitchFamily="2" charset="2"/>
              <a:buChar char="§"/>
              <a:tabLst/>
              <a:defRPr sz="1333"/>
            </a:lvl7pPr>
            <a:lvl8pPr marL="2061582" indent="-156629">
              <a:buClr>
                <a:srgbClr val="D95E00"/>
              </a:buClr>
              <a:buFont typeface="System Font Regular"/>
              <a:buChar char="&gt;"/>
              <a:tabLst/>
              <a:defRPr sz="1200"/>
            </a:lvl8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Click to add sub-bullet</a:t>
            </a:r>
          </a:p>
          <a:p>
            <a:pPr lvl="2"/>
            <a:r>
              <a:rPr lang="en-US" dirty="0"/>
              <a:t>Click to add sub-sub bullet</a:t>
            </a:r>
          </a:p>
        </p:txBody>
      </p:sp>
    </p:spTree>
    <p:extLst>
      <p:ext uri="{BB962C8B-B14F-4D97-AF65-F5344CB8AC3E}">
        <p14:creationId xmlns:p14="http://schemas.microsoft.com/office/powerpoint/2010/main" val="6667452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ACF15DD-277E-394F-AFCE-926578BEF7F1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2D8B4FE-5E61-2942-9F67-A4F6AD7FECA1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62AB3FC8-2388-7847-86DB-E5B5333EAC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7" name="Content Placeholder 18">
            <a:extLst>
              <a:ext uri="{FF2B5EF4-FFF2-40B4-BE49-F238E27FC236}">
                <a16:creationId xmlns:a16="http://schemas.microsoft.com/office/drawing/2014/main" id="{E61379B3-CA22-7E42-8FE3-E2D09D72196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72085" y="863428"/>
            <a:ext cx="11589952" cy="463990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</p:spTree>
    <p:extLst>
      <p:ext uri="{BB962C8B-B14F-4D97-AF65-F5344CB8AC3E}">
        <p14:creationId xmlns:p14="http://schemas.microsoft.com/office/powerpoint/2010/main" val="35389091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44EEE75-1C0C-DF43-8A1A-F55F70A0076A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33C26C-CF75-E04A-98EB-7AEC198CFEE8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AD0B3782-2422-A544-AEA8-0DA96AAE55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D44BC06C-7E1C-4845-973D-DCD63FB136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56867" y="863692"/>
            <a:ext cx="5604933" cy="463964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  <p:sp>
        <p:nvSpPr>
          <p:cNvPr id="15" name="Content Placeholder 18">
            <a:extLst>
              <a:ext uri="{FF2B5EF4-FFF2-40B4-BE49-F238E27FC236}">
                <a16:creationId xmlns:a16="http://schemas.microsoft.com/office/drawing/2014/main" id="{AA93BCA3-E265-CD4C-9883-62DC1D15F3D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72085" y="863428"/>
            <a:ext cx="5612248" cy="463990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</p:spTree>
    <p:extLst>
      <p:ext uri="{BB962C8B-B14F-4D97-AF65-F5344CB8AC3E}">
        <p14:creationId xmlns:p14="http://schemas.microsoft.com/office/powerpoint/2010/main" val="6470777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E70DBF-129D-BB48-BBFF-08F62952F603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E58E4D-9595-E14C-8259-3EDBF9F54A84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9CF2F8B1-9E2E-5040-B217-FCC725F966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CAAA33EB-41E5-8B40-9670-C68F679A7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584" y="862676"/>
            <a:ext cx="3471333" cy="7957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Main Header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BFBAF58-1BBE-824B-9BD9-DF65670E97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4584" y="1873340"/>
            <a:ext cx="3471333" cy="36384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/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80FC676F-AD0F-3045-85E2-F41B9DF0A6F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000501" y="863692"/>
            <a:ext cx="7861300" cy="463964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</p:spTree>
    <p:extLst>
      <p:ext uri="{BB962C8B-B14F-4D97-AF65-F5344CB8AC3E}">
        <p14:creationId xmlns:p14="http://schemas.microsoft.com/office/powerpoint/2010/main" val="19315551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81FDB69-C179-3341-AEF3-D2B3896FB825}"/>
              </a:ext>
            </a:extLst>
          </p:cNvPr>
          <p:cNvCxnSpPr/>
          <p:nvPr userDrawn="1"/>
        </p:nvCxnSpPr>
        <p:spPr>
          <a:xfrm>
            <a:off x="272085" y="513091"/>
            <a:ext cx="267474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8ECA973-8475-EF41-8C88-BE7633966CF5}"/>
              </a:ext>
            </a:extLst>
          </p:cNvPr>
          <p:cNvCxnSpPr/>
          <p:nvPr userDrawn="1"/>
        </p:nvCxnSpPr>
        <p:spPr>
          <a:xfrm>
            <a:off x="3376635" y="513091"/>
            <a:ext cx="8485403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7DF7C01A-B350-7B45-A49E-C3717CC86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A099A8-CF8E-1C48-82A0-F6A6F7CC0F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2085" y="3987800"/>
            <a:ext cx="11589952" cy="15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33" b="1"/>
            </a:lvl1pPr>
          </a:lstStyle>
          <a:p>
            <a:pPr lvl="0"/>
            <a:r>
              <a:rPr lang="en-US" dirty="0"/>
              <a:t>Click to add Transition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82F3CD-3D17-914E-88EA-A50C55E237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4581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r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17F9755-C0DA-B244-B730-B308E60924F8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4610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7FF2CB-58B7-5049-BADD-41D07A0154D8}"/>
              </a:ext>
            </a:extLst>
          </p:cNvPr>
          <p:cNvCxnSpPr/>
          <p:nvPr userDrawn="1"/>
        </p:nvCxnSpPr>
        <p:spPr>
          <a:xfrm>
            <a:off x="272085" y="513091"/>
            <a:ext cx="2674747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B5B524D-D7AF-4B4A-B485-6A922EDBF1D0}"/>
              </a:ext>
            </a:extLst>
          </p:cNvPr>
          <p:cNvCxnSpPr/>
          <p:nvPr userDrawn="1"/>
        </p:nvCxnSpPr>
        <p:spPr>
          <a:xfrm>
            <a:off x="3376635" y="513091"/>
            <a:ext cx="8485403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CD73F756-E117-EE4D-80F1-C25B8572FA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085" y="4258733"/>
            <a:ext cx="11589952" cy="12530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079EB260-1A7B-174A-AA51-12AAD061D7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9EDA26-0ACE-9A47-99A2-05436A5D85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700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E1A813A5-67F0-4243-99EA-ADDCF39402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2875" b="2875"/>
          <a:stretch/>
        </p:blipFill>
        <p:spPr>
          <a:xfrm>
            <a:off x="6152018" y="-67236"/>
            <a:ext cx="4932281" cy="6973083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05B91357-5C4C-6749-B294-84C6AE7509D5}"/>
              </a:ext>
            </a:extLst>
          </p:cNvPr>
          <p:cNvSpPr/>
          <p:nvPr userDrawn="1"/>
        </p:nvSpPr>
        <p:spPr>
          <a:xfrm>
            <a:off x="11057641" y="-94129"/>
            <a:ext cx="1268052" cy="6973083"/>
          </a:xfrm>
          <a:prstGeom prst="rect">
            <a:avLst/>
          </a:prstGeom>
          <a:solidFill>
            <a:srgbClr val="FC68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EFD9D4D-26CF-1B40-9449-C3AAAE20A4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9384" y="4415481"/>
            <a:ext cx="5421167" cy="307777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E225A074-EFE6-D641-B858-30CD052255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32754"/>
            <a:ext cx="12192000" cy="1346199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B976E4-ABDA-F340-8D30-F24D2053CE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9384" y="884321"/>
            <a:ext cx="5421167" cy="2585323"/>
          </a:xfrm>
          <a:prstGeom prst="rect">
            <a:avLst/>
          </a:prstGeom>
          <a:noFill/>
        </p:spPr>
        <p:txBody>
          <a:bodyPr wrap="square"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0388744-69EF-D44B-97D2-6D2F60890F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384" y="4927101"/>
            <a:ext cx="5421167" cy="33855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>
              <a:buNone/>
              <a:defRPr sz="2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075D6DC-3071-304F-BE8D-FC99BB1B67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48959" y="145901"/>
            <a:ext cx="601912" cy="229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8165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ACF15DD-277E-394F-AFCE-926578BEF7F1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2D8B4FE-5E61-2942-9F67-A4F6AD7FECA1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62AB3FC8-2388-7847-86DB-E5B5333EAC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7" name="Content Placeholder 18">
            <a:extLst>
              <a:ext uri="{FF2B5EF4-FFF2-40B4-BE49-F238E27FC236}">
                <a16:creationId xmlns:a16="http://schemas.microsoft.com/office/drawing/2014/main" id="{E61379B3-CA22-7E42-8FE3-E2D09D72196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72085" y="863428"/>
            <a:ext cx="11589952" cy="463990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</p:spTree>
    <p:extLst>
      <p:ext uri="{BB962C8B-B14F-4D97-AF65-F5344CB8AC3E}">
        <p14:creationId xmlns:p14="http://schemas.microsoft.com/office/powerpoint/2010/main" val="39984989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787F5F2-501C-424A-9865-0DE5CE4A13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2086" y="987157"/>
            <a:ext cx="3607765" cy="452286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Main Head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227BE32-0205-E84F-BDBB-EF64671787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6704" y="1741012"/>
            <a:ext cx="7525333" cy="622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/>
            </a:lvl1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076F031-AF81-DC40-9A1C-C60C936724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8701" y="2560825"/>
            <a:ext cx="7533337" cy="2949193"/>
          </a:xfrm>
          <a:prstGeom prst="rect">
            <a:avLst/>
          </a:prstGeom>
        </p:spPr>
        <p:txBody>
          <a:bodyPr/>
          <a:lstStyle>
            <a:lvl1pPr marL="304792" indent="-296326"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2667"/>
            </a:lvl1pPr>
            <a:lvl2pPr marL="535504" indent="-230712">
              <a:buClr>
                <a:srgbClr val="E46102"/>
              </a:buClr>
              <a:buSzPct val="100000"/>
              <a:buFont typeface="Arial" panose="020B0604020202020204" pitchFamily="34" charset="0"/>
              <a:buChar char="•"/>
              <a:tabLst/>
              <a:defRPr sz="2400"/>
            </a:lvl2pPr>
            <a:lvl3pPr marL="840296" indent="-230712">
              <a:buClr>
                <a:srgbClr val="E46102"/>
              </a:buClr>
              <a:buSzPct val="100000"/>
              <a:buFont typeface="Wingdings" pitchFamily="2" charset="2"/>
              <a:buChar char="§"/>
              <a:tabLst/>
              <a:defRPr sz="2133"/>
            </a:lvl3pPr>
            <a:lvl4pPr marL="1073124" indent="-232828">
              <a:buClr>
                <a:srgbClr val="D95E00"/>
              </a:buClr>
              <a:buFont typeface="System Font Regular"/>
              <a:buChar char="&gt;"/>
              <a:tabLst/>
              <a:defRPr sz="1867"/>
            </a:lvl4pPr>
            <a:lvl5pPr marL="1301717" indent="-228594">
              <a:buClr>
                <a:srgbClr val="D95E00"/>
              </a:buClr>
              <a:buFont typeface="Wingdings" pitchFamily="2" charset="2"/>
              <a:buChar char="§"/>
              <a:tabLst/>
              <a:defRPr sz="1600"/>
            </a:lvl5pPr>
            <a:lvl6pPr marL="1295368" indent="0">
              <a:buClr>
                <a:srgbClr val="D95E00"/>
              </a:buClr>
              <a:buFont typeface="System Font Regular"/>
              <a:buNone/>
              <a:tabLst/>
              <a:defRPr sz="1467"/>
            </a:lvl6pPr>
            <a:lvl7pPr marL="1526078" indent="0">
              <a:buClr>
                <a:srgbClr val="D95E00"/>
              </a:buClr>
              <a:buFont typeface="Wingdings" pitchFamily="2" charset="2"/>
              <a:buNone/>
              <a:tabLst/>
              <a:defRPr sz="1333"/>
            </a:lvl7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Click to add sub-bullet</a:t>
            </a:r>
          </a:p>
          <a:p>
            <a:pPr lvl="2"/>
            <a:r>
              <a:rPr lang="en-US" dirty="0"/>
              <a:t>Click to add sub-sub-bullet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1383E86-B978-174B-B3F5-A6CC484326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0"/>
            <a:ext cx="12192000" cy="13462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856AB1-AAB5-DD41-A548-FB33E6E9490C}"/>
              </a:ext>
            </a:extLst>
          </p:cNvPr>
          <p:cNvCxnSpPr/>
          <p:nvPr userDrawn="1"/>
        </p:nvCxnSpPr>
        <p:spPr>
          <a:xfrm>
            <a:off x="272085" y="512494"/>
            <a:ext cx="267474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1BF8741-1247-824C-927C-EC3E8FDB5013}"/>
              </a:ext>
            </a:extLst>
          </p:cNvPr>
          <p:cNvCxnSpPr/>
          <p:nvPr userDrawn="1"/>
        </p:nvCxnSpPr>
        <p:spPr>
          <a:xfrm>
            <a:off x="3376635" y="512494"/>
            <a:ext cx="8485403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72692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AC8303E-CB79-A645-BEF9-D0CD24C49717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CA4F9A6-C8EF-1F4A-8155-1567273829D2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1383E86-B978-174B-B3F5-A6CC484326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0A3470E-8125-0E4C-8D9E-AE498C694D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2085" y="958452"/>
            <a:ext cx="11589952" cy="6963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06909BC-83A5-ED42-AE34-D78DAEC3F2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2085" y="1744225"/>
            <a:ext cx="11589952" cy="3767575"/>
          </a:xfrm>
          <a:prstGeom prst="rect">
            <a:avLst/>
          </a:prstGeom>
        </p:spPr>
        <p:txBody>
          <a:bodyPr/>
          <a:lstStyle>
            <a:lvl1pPr marL="304792" indent="-304792"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3200" b="1"/>
            </a:lvl1pPr>
            <a:lvl2pPr marL="609585" indent="-304792">
              <a:buClr>
                <a:srgbClr val="E46102"/>
              </a:buClr>
              <a:buFont typeface="Arial" panose="020B0604020202020204" pitchFamily="34" charset="0"/>
              <a:buChar char="•"/>
              <a:tabLst/>
              <a:defRPr sz="2667"/>
            </a:lvl2pPr>
            <a:lvl3pPr marL="914377" indent="-304792">
              <a:buClr>
                <a:srgbClr val="E46102"/>
              </a:buClr>
              <a:buSzPct val="100000"/>
              <a:buFont typeface="Wingdings" pitchFamily="2" charset="2"/>
              <a:buChar char="§"/>
              <a:tabLst/>
              <a:defRPr sz="2400"/>
            </a:lvl3pPr>
            <a:lvl4pPr marL="1221287" indent="-306910">
              <a:buClr>
                <a:srgbClr val="D95E00"/>
              </a:buClr>
              <a:buFont typeface="System Font Regular"/>
              <a:buChar char="&gt;"/>
              <a:tabLst/>
              <a:defRPr sz="2133"/>
            </a:lvl4pPr>
            <a:lvl5pPr marL="1526079" indent="-304792">
              <a:buClr>
                <a:srgbClr val="D95E00"/>
              </a:buClr>
              <a:buFont typeface="Wingdings" pitchFamily="2" charset="2"/>
              <a:buChar char="§"/>
              <a:tabLst/>
              <a:defRPr sz="1867"/>
            </a:lvl5pPr>
            <a:lvl6pPr marL="1756789" indent="-230712">
              <a:buClr>
                <a:srgbClr val="D95E00"/>
              </a:buClr>
              <a:buFont typeface="System Font Regular"/>
              <a:buChar char="&gt;"/>
              <a:tabLst/>
              <a:defRPr sz="1600"/>
            </a:lvl6pPr>
            <a:lvl7pPr marL="1904952" indent="-148163">
              <a:buClr>
                <a:srgbClr val="D95E00"/>
              </a:buClr>
              <a:buFont typeface="Wingdings" pitchFamily="2" charset="2"/>
              <a:buChar char="§"/>
              <a:tabLst/>
              <a:defRPr sz="1333"/>
            </a:lvl7pPr>
            <a:lvl8pPr marL="2061582" indent="-156629">
              <a:buClr>
                <a:srgbClr val="D95E00"/>
              </a:buClr>
              <a:buFont typeface="System Font Regular"/>
              <a:buChar char="&gt;"/>
              <a:tabLst/>
              <a:defRPr sz="1200"/>
            </a:lvl8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Click to add sub-bullet</a:t>
            </a:r>
          </a:p>
          <a:p>
            <a:pPr lvl="2"/>
            <a:r>
              <a:rPr lang="en-US" dirty="0"/>
              <a:t>Click to add sub-sub bullet</a:t>
            </a:r>
          </a:p>
        </p:txBody>
      </p:sp>
    </p:spTree>
    <p:extLst>
      <p:ext uri="{BB962C8B-B14F-4D97-AF65-F5344CB8AC3E}">
        <p14:creationId xmlns:p14="http://schemas.microsoft.com/office/powerpoint/2010/main" val="22797658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ACF15DD-277E-394F-AFCE-926578BEF7F1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2D8B4FE-5E61-2942-9F67-A4F6AD7FECA1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62AB3FC8-2388-7847-86DB-E5B5333EAC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7" name="Content Placeholder 18">
            <a:extLst>
              <a:ext uri="{FF2B5EF4-FFF2-40B4-BE49-F238E27FC236}">
                <a16:creationId xmlns:a16="http://schemas.microsoft.com/office/drawing/2014/main" id="{E61379B3-CA22-7E42-8FE3-E2D09D72196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72085" y="863428"/>
            <a:ext cx="11589952" cy="463990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</p:spTree>
    <p:extLst>
      <p:ext uri="{BB962C8B-B14F-4D97-AF65-F5344CB8AC3E}">
        <p14:creationId xmlns:p14="http://schemas.microsoft.com/office/powerpoint/2010/main" val="31917422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44EEE75-1C0C-DF43-8A1A-F55F70A0076A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33C26C-CF75-E04A-98EB-7AEC198CFEE8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AD0B3782-2422-A544-AEA8-0DA96AAE55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D44BC06C-7E1C-4845-973D-DCD63FB136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56867" y="863692"/>
            <a:ext cx="5604933" cy="463964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  <p:sp>
        <p:nvSpPr>
          <p:cNvPr id="15" name="Content Placeholder 18">
            <a:extLst>
              <a:ext uri="{FF2B5EF4-FFF2-40B4-BE49-F238E27FC236}">
                <a16:creationId xmlns:a16="http://schemas.microsoft.com/office/drawing/2014/main" id="{AA93BCA3-E265-CD4C-9883-62DC1D15F3D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72085" y="863428"/>
            <a:ext cx="5612248" cy="463990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</p:spTree>
    <p:extLst>
      <p:ext uri="{BB962C8B-B14F-4D97-AF65-F5344CB8AC3E}">
        <p14:creationId xmlns:p14="http://schemas.microsoft.com/office/powerpoint/2010/main" val="9047570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E70DBF-129D-BB48-BBFF-08F62952F603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E58E4D-9595-E14C-8259-3EDBF9F54A84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9CF2F8B1-9E2E-5040-B217-FCC725F966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CAAA33EB-41E5-8B40-9670-C68F679A7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584" y="862676"/>
            <a:ext cx="3471333" cy="7957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Main Header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BFBAF58-1BBE-824B-9BD9-DF65670E97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4584" y="1873340"/>
            <a:ext cx="3471333" cy="36384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/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80FC676F-AD0F-3045-85E2-F41B9DF0A6F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000501" y="863692"/>
            <a:ext cx="7861300" cy="463964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</p:spTree>
    <p:extLst>
      <p:ext uri="{BB962C8B-B14F-4D97-AF65-F5344CB8AC3E}">
        <p14:creationId xmlns:p14="http://schemas.microsoft.com/office/powerpoint/2010/main" val="18070472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81FDB69-C179-3341-AEF3-D2B3896FB825}"/>
              </a:ext>
            </a:extLst>
          </p:cNvPr>
          <p:cNvCxnSpPr/>
          <p:nvPr userDrawn="1"/>
        </p:nvCxnSpPr>
        <p:spPr>
          <a:xfrm>
            <a:off x="272085" y="513091"/>
            <a:ext cx="267474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8ECA973-8475-EF41-8C88-BE7633966CF5}"/>
              </a:ext>
            </a:extLst>
          </p:cNvPr>
          <p:cNvCxnSpPr/>
          <p:nvPr userDrawn="1"/>
        </p:nvCxnSpPr>
        <p:spPr>
          <a:xfrm>
            <a:off x="3376635" y="513091"/>
            <a:ext cx="8485403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7DF7C01A-B350-7B45-A49E-C3717CC86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A099A8-CF8E-1C48-82A0-F6A6F7CC0F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2085" y="3987800"/>
            <a:ext cx="11589952" cy="15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33" b="1"/>
            </a:lvl1pPr>
          </a:lstStyle>
          <a:p>
            <a:pPr lvl="0"/>
            <a:r>
              <a:rPr lang="en-US" dirty="0"/>
              <a:t>Click to add Transition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82F3CD-3D17-914E-88EA-A50C55E237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627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r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17F9755-C0DA-B244-B730-B308E60924F8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4610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7FF2CB-58B7-5049-BADD-41D07A0154D8}"/>
              </a:ext>
            </a:extLst>
          </p:cNvPr>
          <p:cNvCxnSpPr/>
          <p:nvPr userDrawn="1"/>
        </p:nvCxnSpPr>
        <p:spPr>
          <a:xfrm>
            <a:off x="272085" y="513091"/>
            <a:ext cx="2674747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B5B524D-D7AF-4B4A-B485-6A922EDBF1D0}"/>
              </a:ext>
            </a:extLst>
          </p:cNvPr>
          <p:cNvCxnSpPr/>
          <p:nvPr userDrawn="1"/>
        </p:nvCxnSpPr>
        <p:spPr>
          <a:xfrm>
            <a:off x="3376635" y="513091"/>
            <a:ext cx="8485403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CD73F756-E117-EE4D-80F1-C25B8572FA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085" y="4258733"/>
            <a:ext cx="11589952" cy="12530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079EB260-1A7B-174A-AA51-12AAD061D7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9EDA26-0ACE-9A47-99A2-05436A5D85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1449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44EEE75-1C0C-DF43-8A1A-F55F70A0076A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33C26C-CF75-E04A-98EB-7AEC198CFEE8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AD0B3782-2422-A544-AEA8-0DA96AAE55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D44BC06C-7E1C-4845-973D-DCD63FB136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56867" y="863692"/>
            <a:ext cx="5604933" cy="463964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  <p:sp>
        <p:nvSpPr>
          <p:cNvPr id="15" name="Content Placeholder 18">
            <a:extLst>
              <a:ext uri="{FF2B5EF4-FFF2-40B4-BE49-F238E27FC236}">
                <a16:creationId xmlns:a16="http://schemas.microsoft.com/office/drawing/2014/main" id="{AA93BCA3-E265-CD4C-9883-62DC1D15F3D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72085" y="863428"/>
            <a:ext cx="5612248" cy="463990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</p:spTree>
    <p:extLst>
      <p:ext uri="{BB962C8B-B14F-4D97-AF65-F5344CB8AC3E}">
        <p14:creationId xmlns:p14="http://schemas.microsoft.com/office/powerpoint/2010/main" val="35412785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E70DBF-129D-BB48-BBFF-08F62952F603}"/>
              </a:ext>
            </a:extLst>
          </p:cNvPr>
          <p:cNvCxnSpPr/>
          <p:nvPr userDrawn="1"/>
        </p:nvCxnSpPr>
        <p:spPr>
          <a:xfrm>
            <a:off x="272085" y="513092"/>
            <a:ext cx="267474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E58E4D-9595-E14C-8259-3EDBF9F54A84}"/>
              </a:ext>
            </a:extLst>
          </p:cNvPr>
          <p:cNvCxnSpPr/>
          <p:nvPr userDrawn="1"/>
        </p:nvCxnSpPr>
        <p:spPr>
          <a:xfrm>
            <a:off x="3376635" y="513092"/>
            <a:ext cx="8485403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9CF2F8B1-9E2E-5040-B217-FCC725F966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CAAA33EB-41E5-8B40-9670-C68F679A7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584" y="862676"/>
            <a:ext cx="3471333" cy="7957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Main Header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BFBAF58-1BBE-824B-9BD9-DF65670E97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4584" y="1873340"/>
            <a:ext cx="3471333" cy="36384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/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80FC676F-AD0F-3045-85E2-F41B9DF0A6F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000501" y="863692"/>
            <a:ext cx="7861300" cy="463964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i="1"/>
            </a:lvl1pPr>
          </a:lstStyle>
          <a:p>
            <a:pPr lvl="0"/>
            <a:r>
              <a:rPr lang="en-US" dirty="0"/>
              <a:t>Place image/chart here</a:t>
            </a:r>
          </a:p>
        </p:txBody>
      </p:sp>
    </p:spTree>
    <p:extLst>
      <p:ext uri="{BB962C8B-B14F-4D97-AF65-F5344CB8AC3E}">
        <p14:creationId xmlns:p14="http://schemas.microsoft.com/office/powerpoint/2010/main" val="25753437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81FDB69-C179-3341-AEF3-D2B3896FB825}"/>
              </a:ext>
            </a:extLst>
          </p:cNvPr>
          <p:cNvCxnSpPr/>
          <p:nvPr userDrawn="1"/>
        </p:nvCxnSpPr>
        <p:spPr>
          <a:xfrm>
            <a:off x="272085" y="513091"/>
            <a:ext cx="267474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8ECA973-8475-EF41-8C88-BE7633966CF5}"/>
              </a:ext>
            </a:extLst>
          </p:cNvPr>
          <p:cNvCxnSpPr/>
          <p:nvPr userDrawn="1"/>
        </p:nvCxnSpPr>
        <p:spPr>
          <a:xfrm>
            <a:off x="3376635" y="513091"/>
            <a:ext cx="8485403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7DF7C01A-B350-7B45-A49E-C3717CC86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A099A8-CF8E-1C48-82A0-F6A6F7CC0F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2085" y="3987800"/>
            <a:ext cx="11589952" cy="15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333" b="1"/>
            </a:lvl1pPr>
          </a:lstStyle>
          <a:p>
            <a:pPr lvl="0"/>
            <a:r>
              <a:rPr lang="en-US" dirty="0"/>
              <a:t>Click to add Transition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82F3CD-3D17-914E-88EA-A50C55E237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E41D65F-B9CB-462C-A4E7-FD24CCB77986}"/>
              </a:ext>
            </a:extLst>
          </p:cNvPr>
          <p:cNvSpPr txBox="1"/>
          <p:nvPr userDrawn="1"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‹#›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25BCBF2-4C20-4DF7-AEDF-57AD8B675A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9DB7B8A-20E5-4AD9-BFFC-D2FB70791CF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653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r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17F9755-C0DA-B244-B730-B308E60924F8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E4610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7FF2CB-58B7-5049-BADD-41D07A0154D8}"/>
              </a:ext>
            </a:extLst>
          </p:cNvPr>
          <p:cNvCxnSpPr/>
          <p:nvPr userDrawn="1"/>
        </p:nvCxnSpPr>
        <p:spPr>
          <a:xfrm>
            <a:off x="272085" y="513091"/>
            <a:ext cx="2674747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B5B524D-D7AF-4B4A-B485-6A922EDBF1D0}"/>
              </a:ext>
            </a:extLst>
          </p:cNvPr>
          <p:cNvCxnSpPr/>
          <p:nvPr userDrawn="1"/>
        </p:nvCxnSpPr>
        <p:spPr>
          <a:xfrm>
            <a:off x="3376635" y="513091"/>
            <a:ext cx="8485403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CD73F756-E117-EE4D-80F1-C25B8572FA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085" y="4258733"/>
            <a:ext cx="11589952" cy="12530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079EB260-1A7B-174A-AA51-12AAD061D7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511801"/>
            <a:ext cx="12192000" cy="140123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90000"/>
              </a:lnSpc>
              <a:buNone/>
              <a:defRPr b="0" i="1">
                <a:solidFill>
                  <a:srgbClr val="FF0000"/>
                </a:solidFill>
                <a:latin typeface="MS Gothic" panose="020B0609070205080204" pitchFamily="49" charset="-128"/>
                <a:ea typeface="MS Gothic" panose="020B0609070205080204" pitchFamily="49" charset="-128"/>
              </a:defRPr>
            </a:lvl1pPr>
          </a:lstStyle>
          <a:p>
            <a:pPr lvl="0"/>
            <a:r>
              <a:rPr lang="en-US" dirty="0"/>
              <a:t>Please do not put content in this space.   It is reserved for live captioning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9EDA26-0ACE-9A47-99A2-05436A5D85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3D4982D-FEF3-4B11-A508-0D30B1E7E2CE}"/>
              </a:ext>
            </a:extLst>
          </p:cNvPr>
          <p:cNvSpPr txBox="1"/>
          <p:nvPr userDrawn="1"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‹#›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E8B90A-CC31-4E09-B135-1A3A3B4C29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EBF6D47-C080-40CA-AB09-4CD3C3B842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4135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6DA37-4ED3-41E5-BFC8-50916797F9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67E26F-921D-4014-9F85-4CB0F55260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F640C4-9161-4B22-ACA9-017845316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18A06F-BE2D-4D07-A37E-232BF7200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8DB0BE-41CF-4358-9261-6757FF1C2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5025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‹#›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ED145F7-0212-424C-84CF-3AAA37DF7A2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CF6F6C9-18D5-3341-8495-872E5DE457C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808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0" r:id="rId2"/>
    <p:sldLayoutId id="2147483650" r:id="rId3"/>
    <p:sldLayoutId id="2147483663" r:id="rId4"/>
    <p:sldLayoutId id="2147483652" r:id="rId5"/>
    <p:sldLayoutId id="2147483656" r:id="rId6"/>
    <p:sldLayoutId id="2147483662" r:id="rId7"/>
    <p:sldLayoutId id="2147483661" r:id="rId8"/>
  </p:sldLayoutIdLst>
  <p:hf sldNum="0" hdr="0" dt="0"/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9B4252-E68A-491E-B832-C2473400D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7770A7-D4CA-4F89-B466-5744D60AA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EBB1B7-2138-40FC-8905-464F31021A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6581BE-4F77-4394-A6CF-DC85A1F0A6A2}" type="datetimeFigureOut">
              <a:rPr lang="en-IN" smtClean="0"/>
              <a:t>07-12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926F01-A018-44F6-86CE-D834FC6B3A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CB42D4-BA8E-4276-83EE-3B8C727F47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84E67E-BAC1-4D91-BFD6-C5DF33BF6DB5}" type="slidenum">
              <a:rPr lang="en-IN" smtClean="0"/>
              <a:t>‹#›</a:t>
            </a:fld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2E0F51-30BA-4605-93C4-C75FDD3C0CAB}"/>
              </a:ext>
            </a:extLst>
          </p:cNvPr>
          <p:cNvSpPr txBox="1"/>
          <p:nvPr userDrawn="1"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‹#›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ED3AED-3F09-46FE-911A-0188D7D29C42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11B394-FE9D-470C-8BAE-2227E92D3F9A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440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D902B89-93C0-D54B-935B-21B4E8135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ADECB6-DCED-9049-A4FA-8275C3ABF8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F98DEA-87BF-0646-B76F-0B83BC1623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4E3E23-D7F5-7D48-93A7-81B30A891538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2753FB-CA15-BE42-AAFC-E06210B0E4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6F175D-4456-EC4C-8593-4BCCBE76A9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D78FEE-C6AD-D24A-B41A-0D742F7026C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05BE0C-32B2-4723-B5AD-DCEDDF91F6B2}"/>
              </a:ext>
            </a:extLst>
          </p:cNvPr>
          <p:cNvSpPr txBox="1"/>
          <p:nvPr userDrawn="1"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‹#›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6F4C25C-0F74-4791-959A-C2B261B6B46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0EFA8E-62DF-43BA-8155-954848D376A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62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‹#›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ED145F7-0212-424C-84CF-3AAA37DF7A2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CF6F6C9-18D5-3341-8495-872E5DE457C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405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</p:sldLayoutIdLst>
  <p:hf sldNum="0" hdr="0" dt="0"/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‹#›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ED145F7-0212-424C-84CF-3AAA37DF7A2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58433" y="198708"/>
            <a:ext cx="556192" cy="21859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CF6F6C9-18D5-3341-8495-872E5DE457C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965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</p:sldLayoutIdLst>
  <p:hf sldNum="0" hdr="0" dt="0"/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hyperlink" Target="https://www.rubensworks.net/raw/slides/2020/phd-public/" TargetMode="External"/><Relationship Id="rId7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rawpixel.com/search/firefighter" TargetMode="External"/><Relationship Id="rId5" Type="http://schemas.openxmlformats.org/officeDocument/2006/relationships/image" Target="../media/image28.1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diagramLayout" Target="../diagrams/layout1.xml"/><Relationship Id="rId18" Type="http://schemas.openxmlformats.org/officeDocument/2006/relationships/image" Target="../media/image2.emf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diagramData" Target="../diagrams/data1.xml"/><Relationship Id="rId17" Type="http://schemas.openxmlformats.org/officeDocument/2006/relationships/image" Target="../media/image32.png"/><Relationship Id="rId2" Type="http://schemas.openxmlformats.org/officeDocument/2006/relationships/image" Target="../media/image34.png"/><Relationship Id="rId16" Type="http://schemas.microsoft.com/office/2007/relationships/diagramDrawing" Target="../diagrams/drawing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5" Type="http://schemas.openxmlformats.org/officeDocument/2006/relationships/diagramColors" Target="../diagrams/colors1.xml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32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2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.emf"/><Relationship Id="rId4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5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image" Target="../media/image61.gif"/><Relationship Id="rId4" Type="http://schemas.openxmlformats.org/officeDocument/2006/relationships/image" Target="../media/image6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3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Relationship Id="rId9" Type="http://schemas.openxmlformats.org/officeDocument/2006/relationships/image" Target="../media/image2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69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5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6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7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hyperlink" Target="https://en.wiktionary.org/wiki/%C5%B7#Translingual" TargetMode="Externa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9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10" Type="http://schemas.openxmlformats.org/officeDocument/2006/relationships/image" Target="../media/image2.emf"/><Relationship Id="rId4" Type="http://schemas.openxmlformats.org/officeDocument/2006/relationships/image" Target="../media/image81.png"/><Relationship Id="rId9" Type="http://schemas.openxmlformats.org/officeDocument/2006/relationships/image" Target="../media/image8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09D6475-EB02-F842-AC55-FE7DF136BD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9383" y="2898063"/>
            <a:ext cx="5421167" cy="2431948"/>
          </a:xfrm>
        </p:spPr>
        <p:txBody>
          <a:bodyPr anchor="b" anchorCtr="0"/>
          <a:lstStyle/>
          <a:p>
            <a:r>
              <a:rPr lang="en-US" sz="1800" dirty="0"/>
              <a:t>Team members: </a:t>
            </a:r>
          </a:p>
          <a:p>
            <a:r>
              <a:rPr lang="en-US" sz="1600" b="0" dirty="0"/>
              <a:t>Amit Dilip Kini</a:t>
            </a:r>
          </a:p>
          <a:p>
            <a:r>
              <a:rPr lang="en-US" sz="1600" b="0" dirty="0"/>
              <a:t>Ashini Anantharaman</a:t>
            </a:r>
          </a:p>
          <a:p>
            <a:r>
              <a:rPr lang="en-US" sz="1600" b="0" dirty="0"/>
              <a:t>Niranjana Sathish Avilery</a:t>
            </a:r>
          </a:p>
          <a:p>
            <a:r>
              <a:rPr lang="en-US" sz="1600" b="0" dirty="0"/>
              <a:t>Praveen Chandrasekaran</a:t>
            </a:r>
          </a:p>
          <a:p>
            <a:r>
              <a:rPr lang="en-US" sz="1600" b="0" dirty="0"/>
              <a:t>Vigneshwaran Ravichandran</a:t>
            </a:r>
          </a:p>
          <a:p>
            <a:endParaRPr lang="en-US" sz="1600" b="0" dirty="0"/>
          </a:p>
          <a:p>
            <a:r>
              <a:rPr lang="en-US" sz="1600" dirty="0"/>
              <a:t>Professor: </a:t>
            </a:r>
            <a:r>
              <a:rPr lang="en-US" sz="1600" b="0" dirty="0"/>
              <a:t>Dr. Nidhi Rastogi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9DC7010-AD3F-ED4C-A896-57CB8C6F9A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9384" y="299683"/>
            <a:ext cx="5565279" cy="2585323"/>
          </a:xfrm>
        </p:spPr>
        <p:txBody>
          <a:bodyPr wrap="square" anchor="t" anchorCtr="0">
            <a:normAutofit/>
          </a:bodyPr>
          <a:lstStyle/>
          <a:p>
            <a:r>
              <a:rPr lang="en-IN" sz="4400" dirty="0">
                <a:solidFill>
                  <a:schemeClr val="tx1"/>
                </a:solidFill>
              </a:rPr>
              <a:t>MOVIE RECOMMENDATION SYSTEM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12574E1-8E4D-BE44-AFAE-16E42AB105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9382" y="5516025"/>
            <a:ext cx="5421167" cy="246221"/>
          </a:xfrm>
        </p:spPr>
        <p:txBody>
          <a:bodyPr/>
          <a:lstStyle/>
          <a:p>
            <a:r>
              <a:rPr lang="en-US" sz="1600" dirty="0"/>
              <a:t>Fall 2021 – December 7</a:t>
            </a:r>
            <a:r>
              <a:rPr lang="en-US" sz="1600" baseline="30000" dirty="0"/>
              <a:t>th</a:t>
            </a:r>
            <a:r>
              <a:rPr lang="en-US" sz="1600" dirty="0"/>
              <a:t>, 2021</a:t>
            </a:r>
          </a:p>
        </p:txBody>
      </p:sp>
    </p:spTree>
    <p:extLst>
      <p:ext uri="{BB962C8B-B14F-4D97-AF65-F5344CB8AC3E}">
        <p14:creationId xmlns:p14="http://schemas.microsoft.com/office/powerpoint/2010/main" val="39849006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863DA0C-0015-4B8A-A441-8C5FEE9D783B}"/>
              </a:ext>
            </a:extLst>
          </p:cNvPr>
          <p:cNvCxnSpPr/>
          <p:nvPr/>
        </p:nvCxnSpPr>
        <p:spPr bwMode="auto">
          <a:xfrm>
            <a:off x="320252" y="3960806"/>
            <a:ext cx="1139549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B807B02D-9F48-4A86-AA12-C8A35C6887DA}"/>
              </a:ext>
            </a:extLst>
          </p:cNvPr>
          <p:cNvSpPr/>
          <p:nvPr/>
        </p:nvSpPr>
        <p:spPr>
          <a:xfrm>
            <a:off x="320252" y="4020654"/>
            <a:ext cx="3476634" cy="429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 - I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A1794AD-950C-491E-9E4E-FF2C71F3A7EE}"/>
              </a:ext>
            </a:extLst>
          </p:cNvPr>
          <p:cNvSpPr txBox="1">
            <a:spLocks/>
          </p:cNvSpPr>
          <p:nvPr/>
        </p:nvSpPr>
        <p:spPr>
          <a:xfrm>
            <a:off x="320250" y="551436"/>
            <a:ext cx="11576475" cy="60374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ENRE ANALYSIS</a:t>
            </a:r>
            <a:endParaRPr kumimoji="0" lang="en-IN" sz="4000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20227A6-489F-4690-AFD1-2E4A21C76B19}"/>
              </a:ext>
            </a:extLst>
          </p:cNvPr>
          <p:cNvSpPr/>
          <p:nvPr/>
        </p:nvSpPr>
        <p:spPr>
          <a:xfrm>
            <a:off x="4129613" y="4006519"/>
            <a:ext cx="3750859" cy="429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 - II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39AF60-3649-40A3-A3E7-0A307A5E3E11}"/>
              </a:ext>
            </a:extLst>
          </p:cNvPr>
          <p:cNvSpPr/>
          <p:nvPr/>
        </p:nvSpPr>
        <p:spPr>
          <a:xfrm>
            <a:off x="8202312" y="4006519"/>
            <a:ext cx="3887309" cy="429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 - III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A320412-764E-4DFC-9273-8035525113C8}"/>
              </a:ext>
            </a:extLst>
          </p:cNvPr>
          <p:cNvCxnSpPr/>
          <p:nvPr/>
        </p:nvCxnSpPr>
        <p:spPr bwMode="auto">
          <a:xfrm>
            <a:off x="320252" y="1285020"/>
            <a:ext cx="11395488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207AF869-5EA7-4A02-BA78-DA5B76314CA9}"/>
              </a:ext>
            </a:extLst>
          </p:cNvPr>
          <p:cNvSpPr/>
          <p:nvPr/>
        </p:nvSpPr>
        <p:spPr>
          <a:xfrm>
            <a:off x="8202312" y="1316785"/>
            <a:ext cx="3887311" cy="4997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re distribution around age 30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84BC35-7EA0-4708-B7F1-79A60CE23B42}"/>
              </a:ext>
            </a:extLst>
          </p:cNvPr>
          <p:cNvCxnSpPr/>
          <p:nvPr/>
        </p:nvCxnSpPr>
        <p:spPr bwMode="auto">
          <a:xfrm flipH="1">
            <a:off x="3963249" y="1292638"/>
            <a:ext cx="1" cy="512637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33DD138F-6212-4B34-A4F3-AC2313CD29BF}"/>
              </a:ext>
            </a:extLst>
          </p:cNvPr>
          <p:cNvSpPr/>
          <p:nvPr/>
        </p:nvSpPr>
        <p:spPr>
          <a:xfrm>
            <a:off x="4171871" y="1319571"/>
            <a:ext cx="3750849" cy="4997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re distribution for younger audienc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5B289E6-1974-4B33-8B79-B120D310C93C}"/>
              </a:ext>
            </a:extLst>
          </p:cNvPr>
          <p:cNvCxnSpPr/>
          <p:nvPr/>
        </p:nvCxnSpPr>
        <p:spPr bwMode="auto">
          <a:xfrm flipH="1">
            <a:off x="8063691" y="1292129"/>
            <a:ext cx="1" cy="5151535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3AA49B61-3B8D-4CC8-9BE5-CB5DED766BD2}"/>
              </a:ext>
            </a:extLst>
          </p:cNvPr>
          <p:cNvSpPr/>
          <p:nvPr/>
        </p:nvSpPr>
        <p:spPr>
          <a:xfrm>
            <a:off x="378848" y="1299207"/>
            <a:ext cx="3418038" cy="545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tion of Age 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17C9B678-A846-472A-80DD-04B75822EB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27" y="1847779"/>
            <a:ext cx="3417459" cy="1951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BCDA3178-6446-4AC9-AF5A-74C115BB7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2313" y="1887209"/>
            <a:ext cx="3887310" cy="1968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4233E406-82C7-4C49-B735-58F4223EAE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4212" y="1903657"/>
            <a:ext cx="3750859" cy="195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579FC3F3-AD21-457F-906E-31877C96B649}"/>
              </a:ext>
            </a:extLst>
          </p:cNvPr>
          <p:cNvSpPr/>
          <p:nvPr/>
        </p:nvSpPr>
        <p:spPr>
          <a:xfrm>
            <a:off x="320251" y="4561358"/>
            <a:ext cx="3476635" cy="185764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ur most rated age people were around 25-34 age (40 %) and the least being the people under 18 ages ( 3% ) . </a:t>
            </a:r>
          </a:p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 Observation – II &amp; III the most rated and least rated are being compared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F72E3AA-1F6D-43D5-929C-9A1022176EC1}"/>
              </a:ext>
            </a:extLst>
          </p:cNvPr>
          <p:cNvSpPr/>
          <p:nvPr/>
        </p:nvSpPr>
        <p:spPr>
          <a:xfrm>
            <a:off x="4129613" y="4570050"/>
            <a:ext cx="3725457" cy="185764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st popular genre for the teens and kids is Comedy.</a:t>
            </a:r>
          </a:p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xt popular genre is Action among the male and Drama for the female category.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45291E5-F5FD-4B86-8BBD-C9CD152FD582}"/>
              </a:ext>
            </a:extLst>
          </p:cNvPr>
          <p:cNvSpPr/>
          <p:nvPr/>
        </p:nvSpPr>
        <p:spPr>
          <a:xfrm>
            <a:off x="8246911" y="4561357"/>
            <a:ext cx="3842710" cy="185764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 rating of people around 30 age which being the top two rated movies are Comedy and Drama and least watched are Documentary and Film noir for both the group.</a:t>
            </a:r>
          </a:p>
        </p:txBody>
      </p: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BA066CBB-7EFC-4F94-8269-91D778BBC12C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04309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E8220F-1967-4309-92F9-54283543D415}"/>
              </a:ext>
            </a:extLst>
          </p:cNvPr>
          <p:cNvSpPr/>
          <p:nvPr/>
        </p:nvSpPr>
        <p:spPr>
          <a:xfrm>
            <a:off x="798384" y="1308281"/>
            <a:ext cx="4419600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r genre categori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DBB034F-0AA8-45EB-9D50-7456579EC2C0}"/>
              </a:ext>
            </a:extLst>
          </p:cNvPr>
          <p:cNvCxnSpPr/>
          <p:nvPr/>
        </p:nvCxnSpPr>
        <p:spPr bwMode="auto">
          <a:xfrm flipH="1">
            <a:off x="6096000" y="1310018"/>
            <a:ext cx="1" cy="5156454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93726AB-9E53-4133-B101-4439B859A7A4}"/>
              </a:ext>
            </a:extLst>
          </p:cNvPr>
          <p:cNvCxnSpPr/>
          <p:nvPr/>
        </p:nvCxnSpPr>
        <p:spPr bwMode="auto">
          <a:xfrm>
            <a:off x="257454" y="3879192"/>
            <a:ext cx="5838547" cy="9053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C07880F5-79A6-49B6-B3C7-ABE2FA2A1763}"/>
              </a:ext>
            </a:extLst>
          </p:cNvPr>
          <p:cNvSpPr/>
          <p:nvPr/>
        </p:nvSpPr>
        <p:spPr>
          <a:xfrm>
            <a:off x="798383" y="3976291"/>
            <a:ext cx="4416552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mber of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ccurence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each gen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DE0DAFF-569D-40EB-AA38-1791CBD19C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454" y="3968986"/>
            <a:ext cx="411480" cy="4114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E2E2D60-89F6-4801-8E6D-F09F292113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5578" y="1307603"/>
            <a:ext cx="411480" cy="41148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1A0F92F-479E-4F51-860F-4C37A232766C}"/>
              </a:ext>
            </a:extLst>
          </p:cNvPr>
          <p:cNvSpPr/>
          <p:nvPr/>
        </p:nvSpPr>
        <p:spPr>
          <a:xfrm>
            <a:off x="7396480" y="1310018"/>
            <a:ext cx="4419600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0D0A9FD-20ED-46F9-9F77-A931D2EEDB11}"/>
              </a:ext>
            </a:extLst>
          </p:cNvPr>
          <p:cNvSpPr/>
          <p:nvPr/>
        </p:nvSpPr>
        <p:spPr>
          <a:xfrm>
            <a:off x="6845578" y="2092447"/>
            <a:ext cx="4970502" cy="141501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We can see that Comedy, Drama, Action and Romance displayed bigger words showing it is being rated most and War, Film-noir and documentary displayed in small as it is being rated less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F31C4CC-9AB9-4808-912D-0E574F29C4A6}"/>
              </a:ext>
            </a:extLst>
          </p:cNvPr>
          <p:cNvSpPr txBox="1">
            <a:spLocks/>
          </p:cNvSpPr>
          <p:nvPr/>
        </p:nvSpPr>
        <p:spPr>
          <a:xfrm>
            <a:off x="257454" y="551436"/>
            <a:ext cx="11558626" cy="603740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ENRE ANALYSIS CONTINUED</a:t>
            </a:r>
            <a:endParaRPr kumimoji="0" lang="en-IN" sz="3600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72719C9-7D11-44DC-9D1D-2DEF320C254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70385" y="1310018"/>
            <a:ext cx="393147" cy="393147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C6FD2B35-5131-4A1D-8DD8-0BDBA575B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383" y="1994300"/>
            <a:ext cx="4416549" cy="1611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85E9A61B-8A93-4E4A-8107-6826348577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382" y="4563052"/>
            <a:ext cx="4416545" cy="1867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68E9A151-D65D-4ED3-9C9A-294C4EF00253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589915-F657-4FF8-BA18-34C168162E02}"/>
              </a:ext>
            </a:extLst>
          </p:cNvPr>
          <p:cNvSpPr/>
          <p:nvPr/>
        </p:nvSpPr>
        <p:spPr>
          <a:xfrm>
            <a:off x="6845578" y="4605366"/>
            <a:ext cx="4970502" cy="141501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 of occurrences of genre is displayed in the bar graph also shows that the Comedy, Drama being the most rated movie and film noir &amp; documentary being the least.</a:t>
            </a:r>
          </a:p>
        </p:txBody>
      </p:sp>
    </p:spTree>
    <p:extLst>
      <p:ext uri="{BB962C8B-B14F-4D97-AF65-F5344CB8AC3E}">
        <p14:creationId xmlns:p14="http://schemas.microsoft.com/office/powerpoint/2010/main" val="13444409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88FB54C-45F8-4AB3-B523-CE9F5D93ABAF}"/>
              </a:ext>
            </a:extLst>
          </p:cNvPr>
          <p:cNvCxnSpPr/>
          <p:nvPr/>
        </p:nvCxnSpPr>
        <p:spPr bwMode="auto">
          <a:xfrm>
            <a:off x="826114" y="3960806"/>
            <a:ext cx="1050477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F284A7CA-B9F8-437C-AF43-872779882468}"/>
              </a:ext>
            </a:extLst>
          </p:cNvPr>
          <p:cNvSpPr/>
          <p:nvPr/>
        </p:nvSpPr>
        <p:spPr>
          <a:xfrm>
            <a:off x="840328" y="4020654"/>
            <a:ext cx="3367233" cy="429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 - I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4E41FB3-E5B0-46B2-B394-47A6F1A088A1}"/>
              </a:ext>
            </a:extLst>
          </p:cNvPr>
          <p:cNvSpPr txBox="1">
            <a:spLocks/>
          </p:cNvSpPr>
          <p:nvPr/>
        </p:nvSpPr>
        <p:spPr>
          <a:xfrm>
            <a:off x="320250" y="551436"/>
            <a:ext cx="11576475" cy="603740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7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ATING ANALYSIS</a:t>
            </a:r>
            <a:endParaRPr kumimoji="0" lang="en-IN" sz="3700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8A5629B-3634-45D3-8C76-228A610CA579}"/>
              </a:ext>
            </a:extLst>
          </p:cNvPr>
          <p:cNvSpPr/>
          <p:nvPr/>
        </p:nvSpPr>
        <p:spPr>
          <a:xfrm>
            <a:off x="4377209" y="4020654"/>
            <a:ext cx="3418035" cy="429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 - II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CED11E-4036-4998-87EC-1199E69A12AF}"/>
              </a:ext>
            </a:extLst>
          </p:cNvPr>
          <p:cNvSpPr/>
          <p:nvPr/>
        </p:nvSpPr>
        <p:spPr>
          <a:xfrm>
            <a:off x="7964887" y="4006519"/>
            <a:ext cx="3366000" cy="429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 - III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8A3B2E3-BEEA-4A80-8BCC-9D2CA0189522}"/>
              </a:ext>
            </a:extLst>
          </p:cNvPr>
          <p:cNvCxnSpPr/>
          <p:nvPr/>
        </p:nvCxnSpPr>
        <p:spPr bwMode="auto">
          <a:xfrm>
            <a:off x="826114" y="1285020"/>
            <a:ext cx="1050477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AB7CAECF-854E-4E8C-844A-05936AC90AF1}"/>
              </a:ext>
            </a:extLst>
          </p:cNvPr>
          <p:cNvSpPr/>
          <p:nvPr/>
        </p:nvSpPr>
        <p:spPr>
          <a:xfrm>
            <a:off x="840328" y="1344868"/>
            <a:ext cx="3367233" cy="429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tio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41AAC7A-80CF-449D-821E-28D4C145C32F}"/>
              </a:ext>
            </a:extLst>
          </p:cNvPr>
          <p:cNvCxnSpPr/>
          <p:nvPr/>
        </p:nvCxnSpPr>
        <p:spPr bwMode="auto">
          <a:xfrm flipH="1">
            <a:off x="4292388" y="1292638"/>
            <a:ext cx="1" cy="512637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B43D62F2-2E41-4FA3-AFE7-01CD3C5E8710}"/>
              </a:ext>
            </a:extLst>
          </p:cNvPr>
          <p:cNvSpPr/>
          <p:nvPr/>
        </p:nvSpPr>
        <p:spPr>
          <a:xfrm>
            <a:off x="4377209" y="1344868"/>
            <a:ext cx="3418035" cy="429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p Movi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7BCDADC-E214-49A3-A349-016D65D5D626}"/>
              </a:ext>
            </a:extLst>
          </p:cNvPr>
          <p:cNvCxnSpPr/>
          <p:nvPr/>
        </p:nvCxnSpPr>
        <p:spPr bwMode="auto">
          <a:xfrm flipH="1">
            <a:off x="7880067" y="1285020"/>
            <a:ext cx="1" cy="5151535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ECA82306-4ED4-46D3-BBC1-480DF1AB4CD0}"/>
              </a:ext>
            </a:extLst>
          </p:cNvPr>
          <p:cNvSpPr/>
          <p:nvPr/>
        </p:nvSpPr>
        <p:spPr>
          <a:xfrm>
            <a:off x="7964887" y="1330733"/>
            <a:ext cx="3366000" cy="429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sity Estimate Plo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83DD8C-8372-4732-8687-A0573196043D}"/>
              </a:ext>
            </a:extLst>
          </p:cNvPr>
          <p:cNvSpPr/>
          <p:nvPr/>
        </p:nvSpPr>
        <p:spPr>
          <a:xfrm>
            <a:off x="840327" y="4561358"/>
            <a:ext cx="3367233" cy="185764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l age user their rating on movie is positive (4 star) contributing 35%.</a:t>
            </a:r>
          </a:p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xt most rated on movies stay on neutral (3 star) ground contributing 26%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CF463B7-B505-4B7B-84F7-4E77787EC233}"/>
              </a:ext>
            </a:extLst>
          </p:cNvPr>
          <p:cNvSpPr/>
          <p:nvPr/>
        </p:nvSpPr>
        <p:spPr>
          <a:xfrm>
            <a:off x="4402611" y="4561358"/>
            <a:ext cx="3367233" cy="185764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st popular genre in the top 10 most rated movies based on the number of ratings falls in the Action and Sci-fi category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6D162CB-7692-4425-821A-0FC7461CB21D}"/>
              </a:ext>
            </a:extLst>
          </p:cNvPr>
          <p:cNvSpPr/>
          <p:nvPr/>
        </p:nvSpPr>
        <p:spPr>
          <a:xfrm>
            <a:off x="7990292" y="4561357"/>
            <a:ext cx="3340594" cy="185764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e can see left-skewed for most genres, except for the war-based movies that has mixed ratings. This is the example that people rate movies based on their like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FEDC292-94A7-4B13-A833-F3C72744DC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329" y="1885573"/>
            <a:ext cx="3341836" cy="1958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A64AD755-30ED-42CB-8FE6-4F8997A77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121" y="1891893"/>
            <a:ext cx="3341719" cy="1921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B59A7DC0-6D89-4B75-930E-9952FB37C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122" y="1885571"/>
            <a:ext cx="3365999" cy="1927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2D5141F5-E650-4399-A9EB-5D7DBB93FA5D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57212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4A822F4-09A7-4C87-AE35-0645A5BABD22}"/>
              </a:ext>
            </a:extLst>
          </p:cNvPr>
          <p:cNvSpPr/>
          <p:nvPr/>
        </p:nvSpPr>
        <p:spPr>
          <a:xfrm>
            <a:off x="798384" y="1308281"/>
            <a:ext cx="4419600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mber of rating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B0305FE-214D-4590-A74E-638811A4FDD0}"/>
              </a:ext>
            </a:extLst>
          </p:cNvPr>
          <p:cNvCxnSpPr/>
          <p:nvPr/>
        </p:nvCxnSpPr>
        <p:spPr bwMode="auto">
          <a:xfrm flipH="1">
            <a:off x="6096000" y="1310018"/>
            <a:ext cx="1" cy="5156454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7A7CCD8-26F3-4546-8DBC-8B8FCD8326DA}"/>
              </a:ext>
            </a:extLst>
          </p:cNvPr>
          <p:cNvCxnSpPr/>
          <p:nvPr/>
        </p:nvCxnSpPr>
        <p:spPr bwMode="auto">
          <a:xfrm>
            <a:off x="257454" y="3879192"/>
            <a:ext cx="11675046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E636EDE9-5E1E-4198-95E0-37DAD8E02C37}"/>
              </a:ext>
            </a:extLst>
          </p:cNvPr>
          <p:cNvSpPr/>
          <p:nvPr/>
        </p:nvSpPr>
        <p:spPr>
          <a:xfrm>
            <a:off x="798383" y="3976291"/>
            <a:ext cx="4416552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erage rat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AF7296-74C8-4ABD-B758-7D777CC82E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/>
        </p:blipFill>
        <p:spPr>
          <a:xfrm>
            <a:off x="257454" y="4026698"/>
            <a:ext cx="411480" cy="29605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33EF5C-8F05-4BA0-8542-20B512FFC6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6514" y="1308091"/>
            <a:ext cx="411480" cy="41148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6B367D5-A1BD-47CB-A174-2B306EB549D3}"/>
              </a:ext>
            </a:extLst>
          </p:cNvPr>
          <p:cNvSpPr/>
          <p:nvPr/>
        </p:nvSpPr>
        <p:spPr>
          <a:xfrm>
            <a:off x="7507416" y="1299146"/>
            <a:ext cx="4419600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 - I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E55FEB-DD20-47CC-8CA8-2131B343E208}"/>
              </a:ext>
            </a:extLst>
          </p:cNvPr>
          <p:cNvSpPr/>
          <p:nvPr/>
        </p:nvSpPr>
        <p:spPr>
          <a:xfrm>
            <a:off x="6956514" y="1822941"/>
            <a:ext cx="4970502" cy="195403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aring the Occupation of the rater’s we found out the obvious result of College / Grad Student being the most rating user and the least being the farmers.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BEE5463-502A-4E03-9DE1-0856F1D29A64}"/>
              </a:ext>
            </a:extLst>
          </p:cNvPr>
          <p:cNvSpPr/>
          <p:nvPr/>
        </p:nvSpPr>
        <p:spPr>
          <a:xfrm>
            <a:off x="7512900" y="3989657"/>
            <a:ext cx="4419600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 - II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DE0B3B-8C35-4B00-A465-EFE3C613876E}"/>
              </a:ext>
            </a:extLst>
          </p:cNvPr>
          <p:cNvSpPr/>
          <p:nvPr/>
        </p:nvSpPr>
        <p:spPr>
          <a:xfrm>
            <a:off x="6961998" y="4563052"/>
            <a:ext cx="4970502" cy="186721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verage rating is the highest for the retired community even though the count of ratings provided is not much.</a:t>
            </a:r>
          </a:p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udent community being the highest contributor of ratings has a mean rating of around 3.55. </a:t>
            </a:r>
          </a:p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ta unequally distributed based on occupation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F7C9FAA-A231-43C7-8FD3-8FD75DC6E30C}"/>
              </a:ext>
            </a:extLst>
          </p:cNvPr>
          <p:cNvSpPr txBox="1">
            <a:spLocks/>
          </p:cNvSpPr>
          <p:nvPr/>
        </p:nvSpPr>
        <p:spPr>
          <a:xfrm>
            <a:off x="257454" y="551436"/>
            <a:ext cx="11558626" cy="603740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7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CCUPATION ANALYSIS</a:t>
            </a:r>
            <a:endParaRPr kumimoji="0" lang="en-IN" sz="3700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E437812-6043-47CE-81ED-3DB61D3ADF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/>
        </p:blipFill>
        <p:spPr>
          <a:xfrm>
            <a:off x="264984" y="1305524"/>
            <a:ext cx="403950" cy="40374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9400756-CE6E-4D1F-A32C-F9DEED28C5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948" y="3998468"/>
            <a:ext cx="411480" cy="41148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3DA10751-0D00-4ADE-9102-E470B678A2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484" y="1832321"/>
            <a:ext cx="4024348" cy="1892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A743EAB6-5D4A-4D7F-8234-EEB2BD4019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384" y="4483513"/>
            <a:ext cx="4416551" cy="1946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A1D69D30-B966-487A-97D3-EEEE2083EB92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33318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B195398-3F60-6540-B9FA-4C563BBE082F}"/>
              </a:ext>
            </a:extLst>
          </p:cNvPr>
          <p:cNvSpPr/>
          <p:nvPr/>
        </p:nvSpPr>
        <p:spPr>
          <a:xfrm>
            <a:off x="910355" y="3665856"/>
            <a:ext cx="10371283" cy="410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cess of a recommendation system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0E2C62C-D2E7-144F-BA57-495009CC8F23}"/>
              </a:ext>
            </a:extLst>
          </p:cNvPr>
          <p:cNvCxnSpPr/>
          <p:nvPr/>
        </p:nvCxnSpPr>
        <p:spPr bwMode="auto">
          <a:xfrm>
            <a:off x="910358" y="3537644"/>
            <a:ext cx="10371283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63472E7-4109-914C-86A8-6AD948540164}"/>
              </a:ext>
            </a:extLst>
          </p:cNvPr>
          <p:cNvSpPr txBox="1">
            <a:spLocks/>
          </p:cNvSpPr>
          <p:nvPr/>
        </p:nvSpPr>
        <p:spPr>
          <a:xfrm>
            <a:off x="912468" y="551436"/>
            <a:ext cx="10371283" cy="603740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COMMENDATION SYSTEMS EXPLOR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D483A0-C715-3948-9296-621200B49C2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805" b="12993"/>
          <a:stretch/>
        </p:blipFill>
        <p:spPr>
          <a:xfrm>
            <a:off x="2408759" y="4142443"/>
            <a:ext cx="7374473" cy="2438174"/>
          </a:xfrm>
          <a:prstGeom prst="rect">
            <a:avLst/>
          </a:prstGeom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7982D6BE-3B12-C74A-9AEE-6DB1AC314094}"/>
              </a:ext>
            </a:extLst>
          </p:cNvPr>
          <p:cNvSpPr txBox="1">
            <a:spLocks/>
          </p:cNvSpPr>
          <p:nvPr/>
        </p:nvSpPr>
        <p:spPr>
          <a:xfrm>
            <a:off x="106680" y="6580617"/>
            <a:ext cx="11783018" cy="271524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25100E9-4A5C-DE43-B1CD-12A484BDD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5859"/>
            <a:ext cx="12192000" cy="684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loud Callout 2">
            <a:extLst>
              <a:ext uri="{FF2B5EF4-FFF2-40B4-BE49-F238E27FC236}">
                <a16:creationId xmlns:a16="http://schemas.microsoft.com/office/drawing/2014/main" id="{02FF3264-8944-8241-85F5-C761755EFBD8}"/>
              </a:ext>
            </a:extLst>
          </p:cNvPr>
          <p:cNvSpPr/>
          <p:nvPr/>
        </p:nvSpPr>
        <p:spPr>
          <a:xfrm>
            <a:off x="1758497" y="1240903"/>
            <a:ext cx="3383346" cy="1951058"/>
          </a:xfrm>
          <a:prstGeom prst="cloudCallou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is a recommendation system?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FB9A6A-863D-4046-82C8-10EF2AA50C09}"/>
              </a:ext>
            </a:extLst>
          </p:cNvPr>
          <p:cNvSpPr txBox="1"/>
          <p:nvPr/>
        </p:nvSpPr>
        <p:spPr>
          <a:xfrm>
            <a:off x="5618921" y="1749513"/>
            <a:ext cx="56627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n purpose of the recommendation system is to suggest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evant items to users based on the user’s interest and the past preference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C13DA10-4C57-4F64-86DF-408D7E1D203D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14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07334A4-24C7-44DB-A226-B0BDA6B216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0124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3C53EF0-7C06-E946-8A0D-B802C3DD0DC0}"/>
              </a:ext>
            </a:extLst>
          </p:cNvPr>
          <p:cNvSpPr/>
          <p:nvPr/>
        </p:nvSpPr>
        <p:spPr>
          <a:xfrm>
            <a:off x="869183" y="4410950"/>
            <a:ext cx="4805810" cy="4295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r 1st approach – C.B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E37154-7783-2C43-8F23-7171403FCFDE}"/>
              </a:ext>
            </a:extLst>
          </p:cNvPr>
          <p:cNvSpPr/>
          <p:nvPr/>
        </p:nvSpPr>
        <p:spPr>
          <a:xfrm>
            <a:off x="6517008" y="4410945"/>
            <a:ext cx="4959732" cy="4295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r 2nd approach – C.F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BF878-3A9A-FD44-A3AF-180A81668208}"/>
              </a:ext>
            </a:extLst>
          </p:cNvPr>
          <p:cNvSpPr/>
          <p:nvPr/>
        </p:nvSpPr>
        <p:spPr>
          <a:xfrm>
            <a:off x="889556" y="4946730"/>
            <a:ext cx="4805809" cy="131399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ntent-based recommender learns a profile of the new user’s interests based on the features present in the objects the user has rated.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n a content-based recommender system the algorithms used are such that it recommends users, similar items that the user has liked in the past or is examining currently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9EC3DC-8E78-7243-954A-5D201D18A166}"/>
              </a:ext>
            </a:extLst>
          </p:cNvPr>
          <p:cNvSpPr/>
          <p:nvPr/>
        </p:nvSpPr>
        <p:spPr>
          <a:xfrm>
            <a:off x="6517008" y="4945102"/>
            <a:ext cx="4959732" cy="131561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llaborative recommender systems aggregates ratings or recommendations of objects, recognize commonalities between the users in the basis of their ratings, and generate new recommendations based on inter-user comparisons. 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Picture 4" descr="Content-based Recommender Using Natural Language Processing (NLP) -  KDnuggets">
            <a:extLst>
              <a:ext uri="{FF2B5EF4-FFF2-40B4-BE49-F238E27FC236}">
                <a16:creationId xmlns:a16="http://schemas.microsoft.com/office/drawing/2014/main" id="{5C171FCE-315A-914C-AEE2-564D16502B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78" b="8971"/>
          <a:stretch/>
        </p:blipFill>
        <p:spPr bwMode="auto">
          <a:xfrm>
            <a:off x="1781678" y="1383565"/>
            <a:ext cx="2980819" cy="2933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ontent-based Recommender Using Natural Language Processing (NLP) -  KDnuggets">
            <a:extLst>
              <a:ext uri="{FF2B5EF4-FFF2-40B4-BE49-F238E27FC236}">
                <a16:creationId xmlns:a16="http://schemas.microsoft.com/office/drawing/2014/main" id="{3C72A530-FAA8-594D-BEF7-013CB12C56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716"/>
          <a:stretch/>
        </p:blipFill>
        <p:spPr bwMode="auto">
          <a:xfrm>
            <a:off x="7576666" y="1259215"/>
            <a:ext cx="2862508" cy="3090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5F36FEB-3D01-B447-83EF-E6D9B74CF905}"/>
              </a:ext>
            </a:extLst>
          </p:cNvPr>
          <p:cNvSpPr txBox="1">
            <a:spLocks/>
          </p:cNvSpPr>
          <p:nvPr/>
        </p:nvSpPr>
        <p:spPr>
          <a:xfrm>
            <a:off x="869184" y="593996"/>
            <a:ext cx="10618602" cy="505271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YPES</a:t>
            </a:r>
            <a:r>
              <a:rPr kumimoji="0" lang="en-IN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OF FILTERING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5554DA3-A533-AC49-906D-0FF997B50952}"/>
              </a:ext>
            </a:extLst>
          </p:cNvPr>
          <p:cNvCxnSpPr>
            <a:cxnSpLocks/>
          </p:cNvCxnSpPr>
          <p:nvPr/>
        </p:nvCxnSpPr>
        <p:spPr>
          <a:xfrm flipH="1">
            <a:off x="6113331" y="1147620"/>
            <a:ext cx="65154" cy="50626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191E707-9F9D-C740-ABB1-CAA8D2E5C9CE}"/>
              </a:ext>
            </a:extLst>
          </p:cNvPr>
          <p:cNvCxnSpPr>
            <a:cxnSpLocks/>
          </p:cNvCxnSpPr>
          <p:nvPr/>
        </p:nvCxnSpPr>
        <p:spPr>
          <a:xfrm>
            <a:off x="869184" y="1142685"/>
            <a:ext cx="106186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6EEBBB86-426F-8049-8F4A-9812F00D1DED}"/>
              </a:ext>
            </a:extLst>
          </p:cNvPr>
          <p:cNvSpPr txBox="1">
            <a:spLocks/>
          </p:cNvSpPr>
          <p:nvPr/>
        </p:nvSpPr>
        <p:spPr>
          <a:xfrm>
            <a:off x="182880" y="6580616"/>
            <a:ext cx="11706818" cy="231155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471D475-1F06-D44D-9768-43FEF0AC5E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1"/>
            <a:ext cx="12192000" cy="684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47B7136-205D-41B3-88ED-2644A3480C5C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15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050BE24-AEA7-4347-AA09-37AA2664CD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851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2F7CD7D-7C26-824C-B54F-74DC9594A676}"/>
              </a:ext>
            </a:extLst>
          </p:cNvPr>
          <p:cNvSpPr txBox="1">
            <a:spLocks/>
          </p:cNvSpPr>
          <p:nvPr/>
        </p:nvSpPr>
        <p:spPr>
          <a:xfrm>
            <a:off x="869184" y="500192"/>
            <a:ext cx="10237455" cy="561673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</a:t>
            </a:r>
            <a:r>
              <a:rPr kumimoji="0" lang="en-IN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NTENT-BASED</a:t>
            </a:r>
            <a:r>
              <a:rPr kumimoji="0" lang="en-IN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RECOMMENDATION PROCESS</a:t>
            </a:r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86D9EACA-3BA8-DC45-9761-482A85FA43C7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7DF589-D7BF-FC46-8E1E-08EF576DB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8198" y="2223387"/>
            <a:ext cx="2213879" cy="148843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0AE6A3D-E97F-CF44-93E0-AD9D3FBE0A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3622" y="2495936"/>
            <a:ext cx="1652587" cy="106521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3C86ED-39AB-FF47-9875-6F35827F60D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781" t="21170" r="11584" b="19487"/>
          <a:stretch/>
        </p:blipFill>
        <p:spPr>
          <a:xfrm>
            <a:off x="7583652" y="2617144"/>
            <a:ext cx="2197445" cy="80803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CBE3B33-E8C5-BA4E-BB28-B1E022FD11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60918" y="2127022"/>
            <a:ext cx="2065944" cy="38291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648F2DD-E87E-C144-9D40-228EAAC2B5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48363" y="3405767"/>
            <a:ext cx="1309939" cy="13961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A0C9CEF-2A44-3A44-A4F8-0ED09BC9722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560" t="12425" r="10448" b="10470"/>
          <a:stretch/>
        </p:blipFill>
        <p:spPr>
          <a:xfrm>
            <a:off x="7560918" y="4920473"/>
            <a:ext cx="2246091" cy="117509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615B51F-C39C-504C-BB90-010E565FA5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96894" y="6290350"/>
            <a:ext cx="1412875" cy="3132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0449531-C65C-3940-85DE-F040FE4944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31613" y="5246861"/>
            <a:ext cx="1535556" cy="73747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581F29F-0950-214F-9502-CB2BD41D03E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03988" y="5134465"/>
            <a:ext cx="1659841" cy="126781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A80E920-4174-4643-B3F3-604148FC0CE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2879" y="3771857"/>
            <a:ext cx="2486371" cy="123795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CBF9B7E-77C6-5844-8F58-0FD767B6FDB5}"/>
              </a:ext>
            </a:extLst>
          </p:cNvPr>
          <p:cNvCxnSpPr>
            <a:cxnSpLocks/>
          </p:cNvCxnSpPr>
          <p:nvPr/>
        </p:nvCxnSpPr>
        <p:spPr>
          <a:xfrm>
            <a:off x="869184" y="1079868"/>
            <a:ext cx="106186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Diagram 26">
            <a:extLst>
              <a:ext uri="{FF2B5EF4-FFF2-40B4-BE49-F238E27FC236}">
                <a16:creationId xmlns:a16="http://schemas.microsoft.com/office/drawing/2014/main" id="{3CFC8262-886A-C04F-8341-36326CC5D15A}"/>
              </a:ext>
            </a:extLst>
          </p:cNvPr>
          <p:cNvGraphicFramePr/>
          <p:nvPr/>
        </p:nvGraphicFramePr>
        <p:xfrm>
          <a:off x="998829" y="1185623"/>
          <a:ext cx="10488957" cy="8899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EDE2C186-7C30-E44B-8F1F-0997017E9C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22794"/>
            <a:ext cx="12192000" cy="666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8E29CB7C-A39B-44A4-8CE6-198BCF2A03C4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16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82156D8-B0F7-4320-9A15-272015F6766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225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B5690-C05F-EB4F-AEA7-BD8D6A5F1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009" y="566847"/>
            <a:ext cx="10515600" cy="549275"/>
          </a:xfrm>
        </p:spPr>
        <p:txBody>
          <a:bodyPr>
            <a:noAutofit/>
          </a:bodyPr>
          <a:lstStyle/>
          <a:p>
            <a:pPr algn="ctr" defTabSz="609585">
              <a:lnSpc>
                <a:spcPct val="100000"/>
              </a:lnSpc>
              <a:spcBef>
                <a:spcPts val="800"/>
              </a:spcBef>
            </a:pPr>
            <a:r>
              <a:rPr lang="en-US" sz="3700" b="1" dirty="0">
                <a:solidFill>
                  <a:schemeClr val="accent2"/>
                </a:solidFill>
                <a:latin typeface="Arial"/>
                <a:cs typeface="Arial"/>
                <a:sym typeface="Arial"/>
              </a:rPr>
              <a:t>BUILD ITEM PROFI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04067A-687D-6641-A17E-132D51E355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5193" y="1426369"/>
            <a:ext cx="10808607" cy="448152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b="1" i="1" dirty="0"/>
              <a:t>An item profile is the set of features of each item. 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F28156A-7493-4043-B118-FF2D8BEE7E67}"/>
              </a:ext>
            </a:extLst>
          </p:cNvPr>
          <p:cNvSpPr/>
          <p:nvPr/>
        </p:nvSpPr>
        <p:spPr>
          <a:xfrm>
            <a:off x="838200" y="2889835"/>
            <a:ext cx="1920240" cy="172974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EM PROFILE FOR MOVIE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6B0BF7C-7D82-4E45-A130-13E1E040FD25}"/>
              </a:ext>
            </a:extLst>
          </p:cNvPr>
          <p:cNvCxnSpPr>
            <a:cxnSpLocks/>
            <a:stCxn id="4" idx="7"/>
          </p:cNvCxnSpPr>
          <p:nvPr/>
        </p:nvCxnSpPr>
        <p:spPr>
          <a:xfrm flipV="1">
            <a:off x="2477227" y="2668856"/>
            <a:ext cx="1317533" cy="4742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7398AEB-33D2-A543-B694-6BEC419E2FDB}"/>
              </a:ext>
            </a:extLst>
          </p:cNvPr>
          <p:cNvCxnSpPr>
            <a:cxnSpLocks/>
          </p:cNvCxnSpPr>
          <p:nvPr/>
        </p:nvCxnSpPr>
        <p:spPr>
          <a:xfrm>
            <a:off x="2758440" y="3781375"/>
            <a:ext cx="13258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9EBD901-0A12-4543-8F75-E978358F61DF}"/>
              </a:ext>
            </a:extLst>
          </p:cNvPr>
          <p:cNvCxnSpPr>
            <a:cxnSpLocks/>
            <a:stCxn id="4" idx="5"/>
          </p:cNvCxnSpPr>
          <p:nvPr/>
        </p:nvCxnSpPr>
        <p:spPr>
          <a:xfrm>
            <a:off x="2477227" y="4366260"/>
            <a:ext cx="1317533" cy="5218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110DFE1C-B2E1-FE49-AC68-63E8FDB2CA42}"/>
              </a:ext>
            </a:extLst>
          </p:cNvPr>
          <p:cNvSpPr/>
          <p:nvPr/>
        </p:nvSpPr>
        <p:spPr>
          <a:xfrm>
            <a:off x="3787140" y="2404010"/>
            <a:ext cx="1569720" cy="4800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OR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0BBE364-58C1-0143-BD50-1BCB0653EE06}"/>
              </a:ext>
            </a:extLst>
          </p:cNvPr>
          <p:cNvSpPr/>
          <p:nvPr/>
        </p:nvSpPr>
        <p:spPr>
          <a:xfrm>
            <a:off x="4084320" y="3537535"/>
            <a:ext cx="1569720" cy="48006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R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23BE10-9EC8-DF44-9F63-541B396F5842}"/>
              </a:ext>
            </a:extLst>
          </p:cNvPr>
          <p:cNvSpPr/>
          <p:nvPr/>
        </p:nvSpPr>
        <p:spPr>
          <a:xfrm>
            <a:off x="3794760" y="4650055"/>
            <a:ext cx="1569720" cy="4800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O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1843E4-1A3E-0A41-8B33-25E01EA974F3}"/>
              </a:ext>
            </a:extLst>
          </p:cNvPr>
          <p:cNvSpPr txBox="1"/>
          <p:nvPr/>
        </p:nvSpPr>
        <p:spPr>
          <a:xfrm>
            <a:off x="6232213" y="2477432"/>
            <a:ext cx="555080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 is convenient to think of an item profile to be a vector rather than set of featur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ctor may be real-valued or Boolean with one entry per featur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our case genre is the feature which is used (text), hence TF – IDF comes into play.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0A1E5E45-DB1B-684C-842A-6F8EF3638A47}"/>
              </a:ext>
            </a:extLst>
          </p:cNvPr>
          <p:cNvSpPr txBox="1">
            <a:spLocks/>
          </p:cNvSpPr>
          <p:nvPr/>
        </p:nvSpPr>
        <p:spPr>
          <a:xfrm>
            <a:off x="121920" y="6580616"/>
            <a:ext cx="11767778" cy="277383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CDA92B8F-BFD7-7F4E-A1F0-226E5EDBD3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22794"/>
            <a:ext cx="12192000" cy="666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D1B54B7-BFE6-4D69-AEF2-5BF4B4CFCF56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17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9368D69-6E07-413A-8E7E-C7271232A6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5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ADE7D-E652-AD46-A529-1C73636EF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074" y="580481"/>
            <a:ext cx="10515600" cy="666212"/>
          </a:xfrm>
        </p:spPr>
        <p:txBody>
          <a:bodyPr>
            <a:normAutofit/>
          </a:bodyPr>
          <a:lstStyle/>
          <a:p>
            <a:pPr algn="ctr"/>
            <a:r>
              <a:rPr lang="en-US" sz="3700" b="1" dirty="0">
                <a:solidFill>
                  <a:schemeClr val="accent2"/>
                </a:solidFill>
                <a:latin typeface="Arial"/>
                <a:cs typeface="Arial"/>
              </a:rPr>
              <a:t>TF – IDF SCORE FOR GENRES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73BD951A-6982-ED4B-B7C3-172B764113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22794"/>
            <a:ext cx="12192000" cy="666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DEA874A-6421-0148-9A1B-F48102081B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2659" y="2803967"/>
            <a:ext cx="4178300" cy="1511300"/>
          </a:xfrm>
          <a:prstGeom prst="rect">
            <a:avLst/>
          </a:prstGeom>
        </p:spPr>
      </p:pic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31D7CA47-A5DE-9A43-B51B-22A495C6335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6813511" y="1953251"/>
            <a:ext cx="4495163" cy="351362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0880B1D-0E07-2B40-A1A3-02D5A3EA4B1A}"/>
              </a:ext>
            </a:extLst>
          </p:cNvPr>
          <p:cNvSpPr txBox="1"/>
          <p:nvPr/>
        </p:nvSpPr>
        <p:spPr>
          <a:xfrm>
            <a:off x="6490305" y="1514045"/>
            <a:ext cx="44951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TF – IDF scores for first 3 movi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D33DDDD-9DC9-224F-B364-E73A1FAF6B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8170" y="5804080"/>
            <a:ext cx="10515599" cy="495300"/>
          </a:xfrm>
          <a:prstGeom prst="rect">
            <a:avLst/>
          </a:prstGeom>
        </p:spPr>
      </p:pic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BB957B89-14E1-0045-A60A-B392B5401AF8}"/>
              </a:ext>
            </a:extLst>
          </p:cNvPr>
          <p:cNvSpPr txBox="1">
            <a:spLocks/>
          </p:cNvSpPr>
          <p:nvPr/>
        </p:nvSpPr>
        <p:spPr>
          <a:xfrm>
            <a:off x="121920" y="6580616"/>
            <a:ext cx="11767778" cy="277383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D40C55-8A44-474B-82AA-9C436D5A29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8659" y="1793657"/>
            <a:ext cx="4686300" cy="60960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A3E49B2-90D7-4143-A512-CE08A88A6D0B}"/>
              </a:ext>
            </a:extLst>
          </p:cNvPr>
          <p:cNvCxnSpPr>
            <a:cxnSpLocks/>
          </p:cNvCxnSpPr>
          <p:nvPr/>
        </p:nvCxnSpPr>
        <p:spPr>
          <a:xfrm>
            <a:off x="320040" y="1412972"/>
            <a:ext cx="11539178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DAEB7EC-11E9-C645-99CB-8D261B64776F}"/>
              </a:ext>
            </a:extLst>
          </p:cNvPr>
          <p:cNvCxnSpPr>
            <a:cxnSpLocks/>
          </p:cNvCxnSpPr>
          <p:nvPr/>
        </p:nvCxnSpPr>
        <p:spPr>
          <a:xfrm>
            <a:off x="6096000" y="1397732"/>
            <a:ext cx="0" cy="4208892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74B64B-6045-144E-A49F-00964CDCDEBF}"/>
              </a:ext>
            </a:extLst>
          </p:cNvPr>
          <p:cNvCxnSpPr>
            <a:cxnSpLocks/>
          </p:cNvCxnSpPr>
          <p:nvPr/>
        </p:nvCxnSpPr>
        <p:spPr>
          <a:xfrm flipH="1">
            <a:off x="6089630" y="5606624"/>
            <a:ext cx="5800068" cy="4564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D7BBF89-D9BA-504C-BDEE-DACC7BC955FF}"/>
              </a:ext>
            </a:extLst>
          </p:cNvPr>
          <p:cNvCxnSpPr>
            <a:cxnSpLocks/>
          </p:cNvCxnSpPr>
          <p:nvPr/>
        </p:nvCxnSpPr>
        <p:spPr>
          <a:xfrm flipH="1">
            <a:off x="274320" y="4437657"/>
            <a:ext cx="5838150" cy="1524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9" name="Picture 38" descr="Text&#10;&#10;Description automatically generated">
            <a:extLst>
              <a:ext uri="{FF2B5EF4-FFF2-40B4-BE49-F238E27FC236}">
                <a16:creationId xmlns:a16="http://schemas.microsoft.com/office/drawing/2014/main" id="{510D3516-B56D-4A41-B243-4B99F7377B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8960" y="4782226"/>
            <a:ext cx="5130800" cy="774700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32A5D4C-1CD4-F540-BF61-CEEF728AA877}"/>
              </a:ext>
            </a:extLst>
          </p:cNvPr>
          <p:cNvCxnSpPr>
            <a:cxnSpLocks/>
          </p:cNvCxnSpPr>
          <p:nvPr/>
        </p:nvCxnSpPr>
        <p:spPr>
          <a:xfrm flipH="1">
            <a:off x="293369" y="5602194"/>
            <a:ext cx="5800068" cy="4564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CCFCC25E-AF89-2444-8E49-75CAD6D71F5D}"/>
              </a:ext>
            </a:extLst>
          </p:cNvPr>
          <p:cNvSpPr txBox="1"/>
          <p:nvPr/>
        </p:nvSpPr>
        <p:spPr>
          <a:xfrm>
            <a:off x="2453640" y="4465320"/>
            <a:ext cx="1585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RST 3 MOVI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685678-B89B-493E-95B5-3D2535C3B130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18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BBB697B-D4D6-4E63-9845-5F321DA99EA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574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EA7FEB-7787-E745-B0C0-00A93BCEE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29" y="494311"/>
            <a:ext cx="10515600" cy="670560"/>
          </a:xfrm>
        </p:spPr>
        <p:txBody>
          <a:bodyPr>
            <a:normAutofit/>
          </a:bodyPr>
          <a:lstStyle/>
          <a:p>
            <a:pPr algn="ctr"/>
            <a:r>
              <a:rPr lang="en-US" sz="3700" b="1" dirty="0">
                <a:solidFill>
                  <a:schemeClr val="accent2"/>
                </a:solidFill>
                <a:latin typeface="Arial"/>
                <a:cs typeface="Arial"/>
              </a:rPr>
              <a:t>CALCULATE SIMILARITY 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A9A52FA-CB84-EF46-A81D-6E5BE3BA4F40}"/>
              </a:ext>
            </a:extLst>
          </p:cNvPr>
          <p:cNvSpPr txBox="1">
            <a:spLocks/>
          </p:cNvSpPr>
          <p:nvPr/>
        </p:nvSpPr>
        <p:spPr>
          <a:xfrm>
            <a:off x="121920" y="6580616"/>
            <a:ext cx="11767778" cy="277383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02191D3-215E-F145-80D6-3E5C9620A8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22794"/>
            <a:ext cx="12192000" cy="666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3A08ECF1-823C-E847-B739-42E12A6CD38D}"/>
              </a:ext>
            </a:extLst>
          </p:cNvPr>
          <p:cNvSpPr/>
          <p:nvPr/>
        </p:nvSpPr>
        <p:spPr>
          <a:xfrm>
            <a:off x="1234440" y="2285836"/>
            <a:ext cx="3398520" cy="48006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sine Similarit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FA12B18-2F07-F946-8501-50567CD45E85}"/>
              </a:ext>
            </a:extLst>
          </p:cNvPr>
          <p:cNvSpPr/>
          <p:nvPr/>
        </p:nvSpPr>
        <p:spPr>
          <a:xfrm>
            <a:off x="1234440" y="4471915"/>
            <a:ext cx="3398520" cy="48006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near Kern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BC77125-0C01-2742-936F-B15757D7C9A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0713"/>
          <a:stretch/>
        </p:blipFill>
        <p:spPr>
          <a:xfrm>
            <a:off x="6095999" y="1882696"/>
            <a:ext cx="5464479" cy="105776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2AB2D2D-BF3B-FB4C-833A-760080838A3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9244"/>
          <a:stretch/>
        </p:blipFill>
        <p:spPr>
          <a:xfrm>
            <a:off x="6096000" y="4118628"/>
            <a:ext cx="5464478" cy="1077354"/>
          </a:xfrm>
          <a:prstGeom prst="rect">
            <a:avLst/>
          </a:prstGeom>
        </p:spPr>
      </p:pic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2B11578-F2A7-4348-BAE6-01DB7DB14CF3}"/>
              </a:ext>
            </a:extLst>
          </p:cNvPr>
          <p:cNvCxnSpPr>
            <a:cxnSpLocks/>
          </p:cNvCxnSpPr>
          <p:nvPr/>
        </p:nvCxnSpPr>
        <p:spPr>
          <a:xfrm>
            <a:off x="320040" y="1412972"/>
            <a:ext cx="11539178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F019CCD-7249-8C46-AEB2-FD7E7BFA10B7}"/>
              </a:ext>
            </a:extLst>
          </p:cNvPr>
          <p:cNvCxnSpPr>
            <a:cxnSpLocks/>
          </p:cNvCxnSpPr>
          <p:nvPr/>
        </p:nvCxnSpPr>
        <p:spPr>
          <a:xfrm>
            <a:off x="236220" y="3668492"/>
            <a:ext cx="11539178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62D02E7-52E4-48AD-8AB2-C94D320564B1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19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465F60E-D9FE-452C-9A8C-366CD6FF8C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312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E5816DD1-FA91-4864-9803-FEF36C7E1BF6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en-GB" sz="1100" dirty="0">
                <a:solidFill>
                  <a:prstClr val="black"/>
                </a:solidFill>
              </a:rPr>
              <a:t>RIT | MS Data Science | Fall 2021 | DSCI 633 | Final Project</a:t>
            </a:r>
            <a:endParaRPr lang="en-US" sz="1100" b="0" dirty="0"/>
          </a:p>
          <a:p>
            <a:pPr algn="r" defTabSz="1088633"/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0AFE8A7-25DC-4768-AD8E-844914FB38BE}"/>
              </a:ext>
            </a:extLst>
          </p:cNvPr>
          <p:cNvSpPr/>
          <p:nvPr/>
        </p:nvSpPr>
        <p:spPr>
          <a:xfrm>
            <a:off x="326213" y="1569781"/>
            <a:ext cx="5769788" cy="399850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A stat* from 2017 shows that viewers spent 51 mins per day searching for shows to watch.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The OTT entertainment industry is a 129 billion** USD business in 2021 and is estimated to be doubled by 2026</a:t>
            </a:r>
            <a:r>
              <a:rPr lang="en-US" sz="1100" dirty="0">
                <a:solidFill>
                  <a:schemeClr val="tx1"/>
                </a:solidFill>
              </a:rPr>
              <a:t>.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en-US" sz="1100" dirty="0">
                <a:solidFill>
                  <a:schemeClr val="tx1"/>
                </a:solidFill>
              </a:rPr>
              <a:t>*ericsson.com, ‘TV and Media 2017’. https://www.ericsson.com/en/reports-and-papers/consumerlab/reports/tv-and-media-2017. </a:t>
            </a:r>
          </a:p>
          <a:p>
            <a:pPr algn="just">
              <a:lnSpc>
                <a:spcPct val="150000"/>
              </a:lnSpc>
            </a:pPr>
            <a:r>
              <a:rPr lang="en-US" sz="1100" dirty="0">
                <a:solidFill>
                  <a:schemeClr val="tx1"/>
                </a:solidFill>
              </a:rPr>
              <a:t>**statista.com, ‘OTT video revenue worldwide from 2010 to 2026’. https://www.statista.com/statistics/260179/over-the-top-revenue-worldwide</a:t>
            </a:r>
          </a:p>
          <a:p>
            <a:pPr algn="just">
              <a:lnSpc>
                <a:spcPct val="150000"/>
              </a:lnSpc>
            </a:pPr>
            <a:endParaRPr lang="en-US" sz="1100" dirty="0">
              <a:solidFill>
                <a:schemeClr val="tx1"/>
              </a:solidFill>
            </a:endParaRP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E871C0-8AF6-49A5-82B3-9E41D9F02E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1051" y="1569782"/>
            <a:ext cx="4476465" cy="281114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7630F94-814E-47E7-95B1-5D49351AE338}"/>
              </a:ext>
            </a:extLst>
          </p:cNvPr>
          <p:cNvSpPr txBox="1">
            <a:spLocks/>
          </p:cNvSpPr>
          <p:nvPr/>
        </p:nvSpPr>
        <p:spPr>
          <a:xfrm>
            <a:off x="1" y="557450"/>
            <a:ext cx="12192000" cy="60374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700" b="1" dirty="0">
                <a:solidFill>
                  <a:schemeClr val="accent1"/>
                </a:solidFill>
                <a:latin typeface="Arial"/>
                <a:cs typeface="Arial"/>
              </a:rPr>
              <a:t>THE MOTIVATION</a:t>
            </a:r>
            <a:endParaRPr lang="en-US" sz="3700" b="1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87928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E8126560-675D-124A-B094-2959D8430F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22794"/>
            <a:ext cx="12192000" cy="666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5C165E95-AA67-D949-9619-C2F08F057AF0}"/>
              </a:ext>
            </a:extLst>
          </p:cNvPr>
          <p:cNvSpPr txBox="1">
            <a:spLocks/>
          </p:cNvSpPr>
          <p:nvPr/>
        </p:nvSpPr>
        <p:spPr>
          <a:xfrm>
            <a:off x="121920" y="6580616"/>
            <a:ext cx="11767778" cy="277383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55579E-00FE-7D4E-8C0C-E9E1853EDD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009" y="548557"/>
            <a:ext cx="10515600" cy="670560"/>
          </a:xfrm>
        </p:spPr>
        <p:txBody>
          <a:bodyPr>
            <a:normAutofit/>
          </a:bodyPr>
          <a:lstStyle/>
          <a:p>
            <a:pPr algn="ctr"/>
            <a:r>
              <a:rPr lang="en-US" sz="3700" b="1" dirty="0">
                <a:solidFill>
                  <a:schemeClr val="accent2"/>
                </a:solidFill>
                <a:latin typeface="Arial"/>
                <a:cs typeface="Arial"/>
              </a:rPr>
              <a:t>FINAL RECOMMEDATIONS MAD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B2DD1E-6BBD-A24E-A08B-0643437174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4416"/>
          <a:stretch/>
        </p:blipFill>
        <p:spPr>
          <a:xfrm>
            <a:off x="421363" y="1960573"/>
            <a:ext cx="7965992" cy="34226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0D4AE22-07EE-4B48-B71F-4FA3608CFBEB}"/>
              </a:ext>
            </a:extLst>
          </p:cNvPr>
          <p:cNvSpPr txBox="1"/>
          <p:nvPr/>
        </p:nvSpPr>
        <p:spPr>
          <a:xfrm>
            <a:off x="3935824" y="1402451"/>
            <a:ext cx="48792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MANJI  -  (Adventure|Children's|Fantasy)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D102ED-59DF-CE4C-B458-336AA695C085}"/>
              </a:ext>
            </a:extLst>
          </p:cNvPr>
          <p:cNvSpPr txBox="1"/>
          <p:nvPr/>
        </p:nvSpPr>
        <p:spPr>
          <a:xfrm>
            <a:off x="8169964" y="2423160"/>
            <a:ext cx="3276599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enture|Children's|Fantas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enture|Children's|Fantas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enture|Children's|Fantas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enture|Children's|Fantas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enture|Children's|Fantas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enture|Children's|Fantas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enture|Children's|Fantas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enture|Children's|Fantas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ildren's|Comedy|Fantas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FADB33-83F3-4879-AA22-1BB0CECFAA1E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20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E868569-215B-4371-8D06-F2B3D45F03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1639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992CE34-AD18-7743-B502-014CDEC81E5C}"/>
              </a:ext>
            </a:extLst>
          </p:cNvPr>
          <p:cNvSpPr txBox="1"/>
          <p:nvPr/>
        </p:nvSpPr>
        <p:spPr>
          <a:xfrm>
            <a:off x="781234" y="595835"/>
            <a:ext cx="10629531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ROS AND CONS OF CONTENT BASED RECOMMENDATION SYSTEM</a:t>
            </a:r>
            <a:endParaRPr kumimoji="0" lang="en-IN" sz="3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3316055-826D-DF4F-AA6B-6BBE98581F9E}"/>
              </a:ext>
            </a:extLst>
          </p:cNvPr>
          <p:cNvSpPr/>
          <p:nvPr/>
        </p:nvSpPr>
        <p:spPr>
          <a:xfrm>
            <a:off x="513430" y="1866093"/>
            <a:ext cx="5103099" cy="410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A37AC6-7385-E445-93B8-A4782650CADE}"/>
              </a:ext>
            </a:extLst>
          </p:cNvPr>
          <p:cNvSpPr/>
          <p:nvPr/>
        </p:nvSpPr>
        <p:spPr>
          <a:xfrm>
            <a:off x="6575473" y="1866093"/>
            <a:ext cx="5103099" cy="410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3E64A956-DFF0-9A4F-B556-BE295287F281}"/>
              </a:ext>
            </a:extLst>
          </p:cNvPr>
          <p:cNvSpPr txBox="1">
            <a:spLocks/>
          </p:cNvSpPr>
          <p:nvPr/>
        </p:nvSpPr>
        <p:spPr>
          <a:xfrm>
            <a:off x="6334127" y="2797840"/>
            <a:ext cx="5527673" cy="1606520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ding the appropriate feature is hard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ver recommends outside user’s content profile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ing to create a new user profile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20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50CF4E42-F6AF-8C4A-8F0A-AB4F0202E4AB}"/>
              </a:ext>
            </a:extLst>
          </p:cNvPr>
          <p:cNvSpPr txBox="1">
            <a:spLocks/>
          </p:cNvSpPr>
          <p:nvPr/>
        </p:nvSpPr>
        <p:spPr>
          <a:xfrm>
            <a:off x="272085" y="2706136"/>
            <a:ext cx="5585790" cy="2688824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need for data on other users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mmendation to users with unique taste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ility to recommend new and unpopular items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des explanation to the user as to why this item was recommended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20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2E75F3BE-AFF8-AA4D-AFB0-C9F1552839CC}"/>
              </a:ext>
            </a:extLst>
          </p:cNvPr>
          <p:cNvSpPr txBox="1">
            <a:spLocks/>
          </p:cNvSpPr>
          <p:nvPr/>
        </p:nvSpPr>
        <p:spPr>
          <a:xfrm>
            <a:off x="121920" y="6580616"/>
            <a:ext cx="11767778" cy="277383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1A0FC9D6-3741-5849-A511-FA34EF656D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22794"/>
            <a:ext cx="12192000" cy="666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977954C-12F5-4E2E-83BB-961F7D968C8F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21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C706B87-8774-4D15-9627-2B74B04E3F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958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4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2375977-5F68-40BC-9B39-6825472FCA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8586009"/>
              </p:ext>
            </p:extLst>
          </p:nvPr>
        </p:nvGraphicFramePr>
        <p:xfrm>
          <a:off x="138006" y="1364238"/>
          <a:ext cx="11889698" cy="4862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4F5488-6CD3-41DA-BD39-6EF5B1792BF8}"/>
              </a:ext>
            </a:extLst>
          </p:cNvPr>
          <p:cNvSpPr txBox="1">
            <a:spLocks/>
          </p:cNvSpPr>
          <p:nvPr/>
        </p:nvSpPr>
        <p:spPr>
          <a:xfrm>
            <a:off x="124861" y="566174"/>
            <a:ext cx="11915988" cy="603740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LLABORATIVE</a:t>
            </a:r>
            <a:r>
              <a:rPr kumimoji="0" lang="en-IN" sz="34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-BASED RECOMMENDATION SYSTEM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20258849-0D20-45A9-9D96-F345D098CE0F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026" name="Picture 2" descr="Various Implementations of Collaborative Filtering | by Prince Grover |  Towards Data Science">
            <a:extLst>
              <a:ext uri="{FF2B5EF4-FFF2-40B4-BE49-F238E27FC236}">
                <a16:creationId xmlns:a16="http://schemas.microsoft.com/office/drawing/2014/main" id="{BA0C48EE-2656-4411-BF35-ADFCA3B5FB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3272" y="4210050"/>
            <a:ext cx="3392720" cy="1796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omprehensive Guide on Item Based Collaborative Filtering | by muffaddal  qutbuddin | Towards Data Science">
            <a:extLst>
              <a:ext uri="{FF2B5EF4-FFF2-40B4-BE49-F238E27FC236}">
                <a16:creationId xmlns:a16="http://schemas.microsoft.com/office/drawing/2014/main" id="{9A4E200E-5ED5-4AA3-83D7-7911F20CDD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3282" y="4210050"/>
            <a:ext cx="3223341" cy="1796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4246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E54BA5D-67CA-4E43-8EA5-C58C30E8BE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dgm id="{9E54BA5D-67CA-4E43-8EA5-C58C30E8BE8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6C515FE-9694-4B90-A65D-DACDAEE3AF3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graphicEl>
                                              <a:dgm id="{46C515FE-9694-4B90-A65D-DACDAEE3AF3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EB82CF2-D77D-4CFD-9875-DBD48FC9A6B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graphicEl>
                                              <a:dgm id="{CEB82CF2-D77D-4CFD-9875-DBD48FC9A6B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4E99B29-CC0E-4FA2-A23C-761DBA2D47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graphicEl>
                                              <a:dgm id="{A4E99B29-CC0E-4FA2-A23C-761DBA2D47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8DBAE25-3C06-41F5-A04C-583C272185B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graphicEl>
                                              <a:dgm id="{48DBAE25-3C06-41F5-A04C-583C272185B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lvlAtOnce"/>
        </p:bldSub>
      </p:bldGraphic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74051D5-F713-4439-80FD-C0F1B8AE77AD}"/>
              </a:ext>
            </a:extLst>
          </p:cNvPr>
          <p:cNvSpPr txBox="1">
            <a:spLocks/>
          </p:cNvSpPr>
          <p:nvPr/>
        </p:nvSpPr>
        <p:spPr>
          <a:xfrm>
            <a:off x="977272" y="475970"/>
            <a:ext cx="10237455" cy="603740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USER-USER COLLABORATIVE</a:t>
            </a:r>
            <a:r>
              <a:rPr kumimoji="0" lang="en-IN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-BASED RECOMMENDATION SYSTEM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129075AB-A220-4AFC-B862-DB5D08A243B9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D3237AC-924F-4179-9401-A1E7875990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272" y="1868024"/>
            <a:ext cx="1824360" cy="1905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7414139-145B-4FC8-998B-F3A38617AE61}"/>
              </a:ext>
            </a:extLst>
          </p:cNvPr>
          <p:cNvSpPr txBox="1"/>
          <p:nvPr/>
        </p:nvSpPr>
        <p:spPr>
          <a:xfrm>
            <a:off x="1428560" y="3610744"/>
            <a:ext cx="921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r X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5EE7F61-D68C-4354-9588-9F6C903CD2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20085" y="1871301"/>
            <a:ext cx="1824360" cy="1905000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2F741B5-D516-4A13-893E-BB75FADF9705}"/>
              </a:ext>
            </a:extLst>
          </p:cNvPr>
          <p:cNvCxnSpPr>
            <a:cxnSpLocks/>
          </p:cNvCxnSpPr>
          <p:nvPr/>
        </p:nvCxnSpPr>
        <p:spPr>
          <a:xfrm flipV="1">
            <a:off x="2535926" y="2284011"/>
            <a:ext cx="6633597" cy="3351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077BBB8-6409-4492-856E-99CA39E7C9DA}"/>
              </a:ext>
            </a:extLst>
          </p:cNvPr>
          <p:cNvSpPr txBox="1"/>
          <p:nvPr/>
        </p:nvSpPr>
        <p:spPr>
          <a:xfrm>
            <a:off x="9169523" y="3505001"/>
            <a:ext cx="1373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users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185469C-7C88-4561-B9F8-4B42E359474F}"/>
              </a:ext>
            </a:extLst>
          </p:cNvPr>
          <p:cNvSpPr txBox="1"/>
          <p:nvPr/>
        </p:nvSpPr>
        <p:spPr>
          <a:xfrm>
            <a:off x="4988249" y="1798151"/>
            <a:ext cx="1824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milar users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52DFBFBD-133E-4293-9782-F5770ACFC98D}"/>
              </a:ext>
            </a:extLst>
          </p:cNvPr>
          <p:cNvSpPr/>
          <p:nvPr/>
        </p:nvSpPr>
        <p:spPr>
          <a:xfrm>
            <a:off x="8978118" y="4686343"/>
            <a:ext cx="1824360" cy="880442"/>
          </a:xfrm>
          <a:prstGeom prst="flowChartMagneticDisk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ase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2C76CAD-FA9F-4B75-BD71-6D04C2D9998A}"/>
              </a:ext>
            </a:extLst>
          </p:cNvPr>
          <p:cNvCxnSpPr>
            <a:stCxn id="11" idx="1"/>
          </p:cNvCxnSpPr>
          <p:nvPr/>
        </p:nvCxnSpPr>
        <p:spPr>
          <a:xfrm flipV="1">
            <a:off x="9890298" y="3955676"/>
            <a:ext cx="0" cy="7306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A3C3FDD-4C49-4D14-9514-346A4AB688F3}"/>
              </a:ext>
            </a:extLst>
          </p:cNvPr>
          <p:cNvSpPr txBox="1"/>
          <p:nvPr/>
        </p:nvSpPr>
        <p:spPr>
          <a:xfrm>
            <a:off x="9841655" y="4098697"/>
            <a:ext cx="1373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arch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9558D85-EE99-4FB4-ABF9-04CDF4B1F5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1212" y="3274436"/>
            <a:ext cx="1970309" cy="2219325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396C177-3E74-4130-8A32-7A2C0DCCEF1F}"/>
              </a:ext>
            </a:extLst>
          </p:cNvPr>
          <p:cNvSpPr/>
          <p:nvPr/>
        </p:nvSpPr>
        <p:spPr>
          <a:xfrm>
            <a:off x="6955723" y="3874333"/>
            <a:ext cx="2333461" cy="1053761"/>
          </a:xfrm>
          <a:custGeom>
            <a:avLst/>
            <a:gdLst>
              <a:gd name="connsiteX0" fmla="*/ 1925923 w 1925923"/>
              <a:gd name="connsiteY0" fmla="*/ 0 h 750364"/>
              <a:gd name="connsiteX1" fmla="*/ 1155902 w 1925923"/>
              <a:gd name="connsiteY1" fmla="*/ 737937 h 750364"/>
              <a:gd name="connsiteX2" fmla="*/ 48997 w 1925923"/>
              <a:gd name="connsiteY2" fmla="*/ 481263 h 750364"/>
              <a:gd name="connsiteX3" fmla="*/ 177333 w 1925923"/>
              <a:gd name="connsiteY3" fmla="*/ 721895 h 750364"/>
              <a:gd name="connsiteX4" fmla="*/ 16912 w 1925923"/>
              <a:gd name="connsiteY4" fmla="*/ 513347 h 750364"/>
              <a:gd name="connsiteX5" fmla="*/ 289628 w 1925923"/>
              <a:gd name="connsiteY5" fmla="*/ 368968 h 75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25923" h="750364">
                <a:moveTo>
                  <a:pt x="1925923" y="0"/>
                </a:moveTo>
                <a:cubicBezTo>
                  <a:pt x="1697323" y="328863"/>
                  <a:pt x="1468723" y="657727"/>
                  <a:pt x="1155902" y="737937"/>
                </a:cubicBezTo>
                <a:cubicBezTo>
                  <a:pt x="843081" y="818148"/>
                  <a:pt x="212092" y="483937"/>
                  <a:pt x="48997" y="481263"/>
                </a:cubicBezTo>
                <a:cubicBezTo>
                  <a:pt x="-114098" y="478589"/>
                  <a:pt x="182680" y="716548"/>
                  <a:pt x="177333" y="721895"/>
                </a:cubicBezTo>
                <a:cubicBezTo>
                  <a:pt x="171986" y="727242"/>
                  <a:pt x="-1804" y="572168"/>
                  <a:pt x="16912" y="513347"/>
                </a:cubicBezTo>
                <a:cubicBezTo>
                  <a:pt x="35628" y="454526"/>
                  <a:pt x="162628" y="411747"/>
                  <a:pt x="289628" y="368968"/>
                </a:cubicBezTo>
              </a:path>
            </a:pathLst>
          </a:cu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4AA1D3-BE35-4AAD-ADAF-938F51CC285D}"/>
              </a:ext>
            </a:extLst>
          </p:cNvPr>
          <p:cNvSpPr/>
          <p:nvPr/>
        </p:nvSpPr>
        <p:spPr>
          <a:xfrm rot="1934174">
            <a:off x="2190517" y="4210926"/>
            <a:ext cx="2559752" cy="804009"/>
          </a:xfrm>
          <a:custGeom>
            <a:avLst/>
            <a:gdLst>
              <a:gd name="connsiteX0" fmla="*/ 1925923 w 1925923"/>
              <a:gd name="connsiteY0" fmla="*/ 0 h 750364"/>
              <a:gd name="connsiteX1" fmla="*/ 1155902 w 1925923"/>
              <a:gd name="connsiteY1" fmla="*/ 737937 h 750364"/>
              <a:gd name="connsiteX2" fmla="*/ 48997 w 1925923"/>
              <a:gd name="connsiteY2" fmla="*/ 481263 h 750364"/>
              <a:gd name="connsiteX3" fmla="*/ 177333 w 1925923"/>
              <a:gd name="connsiteY3" fmla="*/ 721895 h 750364"/>
              <a:gd name="connsiteX4" fmla="*/ 16912 w 1925923"/>
              <a:gd name="connsiteY4" fmla="*/ 513347 h 750364"/>
              <a:gd name="connsiteX5" fmla="*/ 289628 w 1925923"/>
              <a:gd name="connsiteY5" fmla="*/ 368968 h 75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25923" h="750364">
                <a:moveTo>
                  <a:pt x="1925923" y="0"/>
                </a:moveTo>
                <a:cubicBezTo>
                  <a:pt x="1697323" y="328863"/>
                  <a:pt x="1468723" y="657727"/>
                  <a:pt x="1155902" y="737937"/>
                </a:cubicBezTo>
                <a:cubicBezTo>
                  <a:pt x="843081" y="818148"/>
                  <a:pt x="212092" y="483937"/>
                  <a:pt x="48997" y="481263"/>
                </a:cubicBezTo>
                <a:cubicBezTo>
                  <a:pt x="-114098" y="478589"/>
                  <a:pt x="182680" y="716548"/>
                  <a:pt x="177333" y="721895"/>
                </a:cubicBezTo>
                <a:cubicBezTo>
                  <a:pt x="171986" y="727242"/>
                  <a:pt x="-1804" y="572168"/>
                  <a:pt x="16912" y="513347"/>
                </a:cubicBezTo>
                <a:cubicBezTo>
                  <a:pt x="35628" y="454526"/>
                  <a:pt x="162628" y="411747"/>
                  <a:pt x="289628" y="368968"/>
                </a:cubicBezTo>
              </a:path>
            </a:pathLst>
          </a:cu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C68DCC7-D9FB-40BD-A1EC-DE5A415567ED}"/>
              </a:ext>
            </a:extLst>
          </p:cNvPr>
          <p:cNvSpPr txBox="1"/>
          <p:nvPr/>
        </p:nvSpPr>
        <p:spPr>
          <a:xfrm>
            <a:off x="7897622" y="4899852"/>
            <a:ext cx="921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fer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67BBB16-1FB4-4E90-9295-D1F3E615E6D8}"/>
              </a:ext>
            </a:extLst>
          </p:cNvPr>
          <p:cNvSpPr txBox="1"/>
          <p:nvPr/>
        </p:nvSpPr>
        <p:spPr>
          <a:xfrm>
            <a:off x="2006589" y="5198976"/>
            <a:ext cx="21641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ommendation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50A89D-0FC7-46CF-86A1-8C2176E89EAA}"/>
              </a:ext>
            </a:extLst>
          </p:cNvPr>
          <p:cNvSpPr txBox="1"/>
          <p:nvPr/>
        </p:nvSpPr>
        <p:spPr>
          <a:xfrm>
            <a:off x="2981452" y="5636368"/>
            <a:ext cx="58379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ommended movies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Flowchart: Magnetic Disk 24">
            <a:extLst>
              <a:ext uri="{FF2B5EF4-FFF2-40B4-BE49-F238E27FC236}">
                <a16:creationId xmlns:a16="http://schemas.microsoft.com/office/drawing/2014/main" id="{6E272ACB-1DEE-406B-A9C8-4608AA23CB49}"/>
              </a:ext>
            </a:extLst>
          </p:cNvPr>
          <p:cNvSpPr/>
          <p:nvPr/>
        </p:nvSpPr>
        <p:spPr>
          <a:xfrm>
            <a:off x="8978118" y="4686343"/>
            <a:ext cx="1824360" cy="880442"/>
          </a:xfrm>
          <a:prstGeom prst="flowChartMagneticDisk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ase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E22EB7-1DCF-45E3-833C-E12C5A175F46}"/>
              </a:ext>
            </a:extLst>
          </p:cNvPr>
          <p:cNvSpPr txBox="1"/>
          <p:nvPr/>
        </p:nvSpPr>
        <p:spPr>
          <a:xfrm>
            <a:off x="9841655" y="4100220"/>
            <a:ext cx="1373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arch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1761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2" grpId="0"/>
      <p:bldP spid="14" grpId="0"/>
      <p:bldP spid="11" grpId="0" animBg="1"/>
      <p:bldP spid="17" grpId="0"/>
      <p:bldP spid="21" grpId="0" animBg="1"/>
      <p:bldP spid="22" grpId="0" animBg="1"/>
      <p:bldP spid="23" grpId="0"/>
      <p:bldP spid="24" grpId="0"/>
      <p:bldP spid="26" grpId="0"/>
      <p:bldP spid="25" grpId="0" animBg="1"/>
      <p:bldP spid="2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74051D5-F713-4439-80FD-C0F1B8AE77AD}"/>
              </a:ext>
            </a:extLst>
          </p:cNvPr>
          <p:cNvSpPr txBox="1">
            <a:spLocks/>
          </p:cNvSpPr>
          <p:nvPr/>
        </p:nvSpPr>
        <p:spPr>
          <a:xfrm>
            <a:off x="977272" y="760499"/>
            <a:ext cx="10237455" cy="603740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O FIND SIMILAR USERS</a:t>
            </a:r>
            <a:endParaRPr kumimoji="0" lang="en-IN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129075AB-A220-4AFC-B862-DB5D08A243B9}"/>
              </a:ext>
            </a:extLst>
          </p:cNvPr>
          <p:cNvSpPr txBox="1">
            <a:spLocks/>
          </p:cNvSpPr>
          <p:nvPr/>
        </p:nvSpPr>
        <p:spPr>
          <a:xfrm>
            <a:off x="0" y="6631851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367BE673-5257-44D9-AD12-4114A3DEA749}"/>
              </a:ext>
            </a:extLst>
          </p:cNvPr>
          <p:cNvGraphicFramePr>
            <a:graphicFrameLocks noGrp="1"/>
          </p:cNvGraphicFramePr>
          <p:nvPr/>
        </p:nvGraphicFramePr>
        <p:xfrm>
          <a:off x="977273" y="1364239"/>
          <a:ext cx="10237454" cy="2967789"/>
        </p:xfrm>
        <a:graphic>
          <a:graphicData uri="http://schemas.openxmlformats.org/drawingml/2006/table">
            <a:tbl>
              <a:tblPr/>
              <a:tblGrid>
                <a:gridCol w="690166">
                  <a:extLst>
                    <a:ext uri="{9D8B030D-6E8A-4147-A177-3AD203B41FA5}">
                      <a16:colId xmlns:a16="http://schemas.microsoft.com/office/drawing/2014/main" val="3649578543"/>
                    </a:ext>
                  </a:extLst>
                </a:gridCol>
                <a:gridCol w="1883576">
                  <a:extLst>
                    <a:ext uri="{9D8B030D-6E8A-4147-A177-3AD203B41FA5}">
                      <a16:colId xmlns:a16="http://schemas.microsoft.com/office/drawing/2014/main" val="4077860993"/>
                    </a:ext>
                  </a:extLst>
                </a:gridCol>
                <a:gridCol w="1883576">
                  <a:extLst>
                    <a:ext uri="{9D8B030D-6E8A-4147-A177-3AD203B41FA5}">
                      <a16:colId xmlns:a16="http://schemas.microsoft.com/office/drawing/2014/main" val="3282183796"/>
                    </a:ext>
                  </a:extLst>
                </a:gridCol>
                <a:gridCol w="1092762">
                  <a:extLst>
                    <a:ext uri="{9D8B030D-6E8A-4147-A177-3AD203B41FA5}">
                      <a16:colId xmlns:a16="http://schemas.microsoft.com/office/drawing/2014/main" val="4259186378"/>
                    </a:ext>
                  </a:extLst>
                </a:gridCol>
                <a:gridCol w="1035248">
                  <a:extLst>
                    <a:ext uri="{9D8B030D-6E8A-4147-A177-3AD203B41FA5}">
                      <a16:colId xmlns:a16="http://schemas.microsoft.com/office/drawing/2014/main" val="1455159294"/>
                    </a:ext>
                  </a:extLst>
                </a:gridCol>
                <a:gridCol w="1078384">
                  <a:extLst>
                    <a:ext uri="{9D8B030D-6E8A-4147-A177-3AD203B41FA5}">
                      <a16:colId xmlns:a16="http://schemas.microsoft.com/office/drawing/2014/main" val="1902850823"/>
                    </a:ext>
                  </a:extLst>
                </a:gridCol>
                <a:gridCol w="1883576">
                  <a:extLst>
                    <a:ext uri="{9D8B030D-6E8A-4147-A177-3AD203B41FA5}">
                      <a16:colId xmlns:a16="http://schemas.microsoft.com/office/drawing/2014/main" val="878401376"/>
                    </a:ext>
                  </a:extLst>
                </a:gridCol>
                <a:gridCol w="690166">
                  <a:extLst>
                    <a:ext uri="{9D8B030D-6E8A-4147-A177-3AD203B41FA5}">
                      <a16:colId xmlns:a16="http://schemas.microsoft.com/office/drawing/2014/main" val="1923968134"/>
                    </a:ext>
                  </a:extLst>
                </a:gridCol>
              </a:tblGrid>
              <a:tr h="79292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der-Man: No Way Ho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der-Man: Far From Hom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ctor Strang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day the 13t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ster House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agascar: Escape 2 Afric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y Stor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008136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222079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B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713132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C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884729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D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852230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4D6B18E-912E-4960-8DF2-250683533D3E}"/>
              </a:ext>
            </a:extLst>
          </p:cNvPr>
          <p:cNvSpPr txBox="1"/>
          <p:nvPr/>
        </p:nvSpPr>
        <p:spPr>
          <a:xfrm>
            <a:off x="977272" y="4885151"/>
            <a:ext cx="102374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ider users A and B with rating vecto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B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 need a similarity metric sim(</a:t>
            </a:r>
            <a:r>
              <a:rPr kumimoji="0" lang="en-I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x,y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pture intuition that sim(A,B) &gt; sim(A,C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8089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74051D5-F713-4439-80FD-C0F1B8AE77AD}"/>
              </a:ext>
            </a:extLst>
          </p:cNvPr>
          <p:cNvSpPr txBox="1">
            <a:spLocks/>
          </p:cNvSpPr>
          <p:nvPr/>
        </p:nvSpPr>
        <p:spPr>
          <a:xfrm>
            <a:off x="977272" y="567232"/>
            <a:ext cx="10237455" cy="603740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PPROACH 1: JACCARD SIMILARITY</a:t>
            </a:r>
            <a:endParaRPr kumimoji="0" lang="en-IN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129075AB-A220-4AFC-B862-DB5D08A243B9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367BE673-5257-44D9-AD12-4114A3DEA749}"/>
              </a:ext>
            </a:extLst>
          </p:cNvPr>
          <p:cNvGraphicFramePr>
            <a:graphicFrameLocks noGrp="1"/>
          </p:cNvGraphicFramePr>
          <p:nvPr/>
        </p:nvGraphicFramePr>
        <p:xfrm>
          <a:off x="977273" y="1364239"/>
          <a:ext cx="10237454" cy="2967789"/>
        </p:xfrm>
        <a:graphic>
          <a:graphicData uri="http://schemas.openxmlformats.org/drawingml/2006/table">
            <a:tbl>
              <a:tblPr/>
              <a:tblGrid>
                <a:gridCol w="690166">
                  <a:extLst>
                    <a:ext uri="{9D8B030D-6E8A-4147-A177-3AD203B41FA5}">
                      <a16:colId xmlns:a16="http://schemas.microsoft.com/office/drawing/2014/main" val="3649578543"/>
                    </a:ext>
                  </a:extLst>
                </a:gridCol>
                <a:gridCol w="1883576">
                  <a:extLst>
                    <a:ext uri="{9D8B030D-6E8A-4147-A177-3AD203B41FA5}">
                      <a16:colId xmlns:a16="http://schemas.microsoft.com/office/drawing/2014/main" val="4077860993"/>
                    </a:ext>
                  </a:extLst>
                </a:gridCol>
                <a:gridCol w="1883576">
                  <a:extLst>
                    <a:ext uri="{9D8B030D-6E8A-4147-A177-3AD203B41FA5}">
                      <a16:colId xmlns:a16="http://schemas.microsoft.com/office/drawing/2014/main" val="3282183796"/>
                    </a:ext>
                  </a:extLst>
                </a:gridCol>
                <a:gridCol w="1092762">
                  <a:extLst>
                    <a:ext uri="{9D8B030D-6E8A-4147-A177-3AD203B41FA5}">
                      <a16:colId xmlns:a16="http://schemas.microsoft.com/office/drawing/2014/main" val="4259186378"/>
                    </a:ext>
                  </a:extLst>
                </a:gridCol>
                <a:gridCol w="1035248">
                  <a:extLst>
                    <a:ext uri="{9D8B030D-6E8A-4147-A177-3AD203B41FA5}">
                      <a16:colId xmlns:a16="http://schemas.microsoft.com/office/drawing/2014/main" val="1455159294"/>
                    </a:ext>
                  </a:extLst>
                </a:gridCol>
                <a:gridCol w="1078384">
                  <a:extLst>
                    <a:ext uri="{9D8B030D-6E8A-4147-A177-3AD203B41FA5}">
                      <a16:colId xmlns:a16="http://schemas.microsoft.com/office/drawing/2014/main" val="1902850823"/>
                    </a:ext>
                  </a:extLst>
                </a:gridCol>
                <a:gridCol w="1883576">
                  <a:extLst>
                    <a:ext uri="{9D8B030D-6E8A-4147-A177-3AD203B41FA5}">
                      <a16:colId xmlns:a16="http://schemas.microsoft.com/office/drawing/2014/main" val="878401376"/>
                    </a:ext>
                  </a:extLst>
                </a:gridCol>
                <a:gridCol w="690166">
                  <a:extLst>
                    <a:ext uri="{9D8B030D-6E8A-4147-A177-3AD203B41FA5}">
                      <a16:colId xmlns:a16="http://schemas.microsoft.com/office/drawing/2014/main" val="1923968134"/>
                    </a:ext>
                  </a:extLst>
                </a:gridCol>
              </a:tblGrid>
              <a:tr h="79292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der-Man: No Way Ho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der-Man: Far From Hom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ctor Strang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day the 13t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ster House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agascar: Escape 2 Afric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y Stor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008136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222079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B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713132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C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884729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D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852230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4D6B18E-912E-4960-8DF2-250683533D3E}"/>
              </a:ext>
            </a:extLst>
          </p:cNvPr>
          <p:cNvSpPr txBox="1"/>
          <p:nvPr/>
        </p:nvSpPr>
        <p:spPr>
          <a:xfrm>
            <a:off x="977272" y="4885151"/>
            <a:ext cx="102374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m(A,B) = |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∩ </a:t>
            </a:r>
            <a:r>
              <a:rPr kumimoji="0" lang="en-I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rB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| / |</a:t>
            </a:r>
            <a:r>
              <a:rPr kumimoji="0" lang="en-I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rA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 ∪ </a:t>
            </a:r>
            <a:r>
              <a:rPr kumimoji="0" lang="en-I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rB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|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m(A,B) = 1/5; sim(A,C) = 2/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sim(A,B) &lt; sim(A,C)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gnores rating valu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69506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74051D5-F713-4439-80FD-C0F1B8AE77AD}"/>
              </a:ext>
            </a:extLst>
          </p:cNvPr>
          <p:cNvSpPr txBox="1">
            <a:spLocks/>
          </p:cNvSpPr>
          <p:nvPr/>
        </p:nvSpPr>
        <p:spPr>
          <a:xfrm>
            <a:off x="977271" y="567232"/>
            <a:ext cx="10237455" cy="603740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PPROACH 2: COSINE SIMILARITY</a:t>
            </a:r>
            <a:endParaRPr kumimoji="0" lang="en-IN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129075AB-A220-4AFC-B862-DB5D08A243B9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367BE673-5257-44D9-AD12-4114A3DEA749}"/>
              </a:ext>
            </a:extLst>
          </p:cNvPr>
          <p:cNvGraphicFramePr>
            <a:graphicFrameLocks noGrp="1"/>
          </p:cNvGraphicFramePr>
          <p:nvPr/>
        </p:nvGraphicFramePr>
        <p:xfrm>
          <a:off x="977273" y="1364239"/>
          <a:ext cx="10237454" cy="2967789"/>
        </p:xfrm>
        <a:graphic>
          <a:graphicData uri="http://schemas.openxmlformats.org/drawingml/2006/table">
            <a:tbl>
              <a:tblPr/>
              <a:tblGrid>
                <a:gridCol w="690166">
                  <a:extLst>
                    <a:ext uri="{9D8B030D-6E8A-4147-A177-3AD203B41FA5}">
                      <a16:colId xmlns:a16="http://schemas.microsoft.com/office/drawing/2014/main" val="3649578543"/>
                    </a:ext>
                  </a:extLst>
                </a:gridCol>
                <a:gridCol w="1883576">
                  <a:extLst>
                    <a:ext uri="{9D8B030D-6E8A-4147-A177-3AD203B41FA5}">
                      <a16:colId xmlns:a16="http://schemas.microsoft.com/office/drawing/2014/main" val="4077860993"/>
                    </a:ext>
                  </a:extLst>
                </a:gridCol>
                <a:gridCol w="1883576">
                  <a:extLst>
                    <a:ext uri="{9D8B030D-6E8A-4147-A177-3AD203B41FA5}">
                      <a16:colId xmlns:a16="http://schemas.microsoft.com/office/drawing/2014/main" val="3282183796"/>
                    </a:ext>
                  </a:extLst>
                </a:gridCol>
                <a:gridCol w="1092762">
                  <a:extLst>
                    <a:ext uri="{9D8B030D-6E8A-4147-A177-3AD203B41FA5}">
                      <a16:colId xmlns:a16="http://schemas.microsoft.com/office/drawing/2014/main" val="4259186378"/>
                    </a:ext>
                  </a:extLst>
                </a:gridCol>
                <a:gridCol w="1035248">
                  <a:extLst>
                    <a:ext uri="{9D8B030D-6E8A-4147-A177-3AD203B41FA5}">
                      <a16:colId xmlns:a16="http://schemas.microsoft.com/office/drawing/2014/main" val="1455159294"/>
                    </a:ext>
                  </a:extLst>
                </a:gridCol>
                <a:gridCol w="1078384">
                  <a:extLst>
                    <a:ext uri="{9D8B030D-6E8A-4147-A177-3AD203B41FA5}">
                      <a16:colId xmlns:a16="http://schemas.microsoft.com/office/drawing/2014/main" val="1902850823"/>
                    </a:ext>
                  </a:extLst>
                </a:gridCol>
                <a:gridCol w="1883576">
                  <a:extLst>
                    <a:ext uri="{9D8B030D-6E8A-4147-A177-3AD203B41FA5}">
                      <a16:colId xmlns:a16="http://schemas.microsoft.com/office/drawing/2014/main" val="878401376"/>
                    </a:ext>
                  </a:extLst>
                </a:gridCol>
                <a:gridCol w="690166">
                  <a:extLst>
                    <a:ext uri="{9D8B030D-6E8A-4147-A177-3AD203B41FA5}">
                      <a16:colId xmlns:a16="http://schemas.microsoft.com/office/drawing/2014/main" val="1923968134"/>
                    </a:ext>
                  </a:extLst>
                </a:gridCol>
              </a:tblGrid>
              <a:tr h="79292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der-Man: No Way Ho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der-Man: Far From Hom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ctor Strang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day the 13t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ster House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agascar: Escape 2 Afric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y Stor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008136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222079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B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713132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C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884729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D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852230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4D6B18E-912E-4960-8DF2-250683533D3E}"/>
              </a:ext>
            </a:extLst>
          </p:cNvPr>
          <p:cNvSpPr txBox="1"/>
          <p:nvPr/>
        </p:nvSpPr>
        <p:spPr>
          <a:xfrm>
            <a:off x="977272" y="4885151"/>
            <a:ext cx="102374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m(A,B) = cos(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,r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m(A,B) = 0.38; sim(A,C) = 0.3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sim(A,B) &gt; sim(A,C), but not by much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s missing ratings as negativ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5149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74051D5-F713-4439-80FD-C0F1B8AE77AD}"/>
              </a:ext>
            </a:extLst>
          </p:cNvPr>
          <p:cNvSpPr txBox="1">
            <a:spLocks/>
          </p:cNvSpPr>
          <p:nvPr/>
        </p:nvSpPr>
        <p:spPr>
          <a:xfrm>
            <a:off x="977271" y="568106"/>
            <a:ext cx="10237455" cy="603740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PPROACH 3: PEARSON COEFFICIENT (OR) CENTERED COSINE SIMILARITY</a:t>
            </a:r>
            <a:endParaRPr kumimoji="0" lang="en-IN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129075AB-A220-4AFC-B862-DB5D08A243B9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367BE673-5257-44D9-AD12-4114A3DEA7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064454"/>
              </p:ext>
            </p:extLst>
          </p:nvPr>
        </p:nvGraphicFramePr>
        <p:xfrm>
          <a:off x="977271" y="1945105"/>
          <a:ext cx="10237454" cy="2967789"/>
        </p:xfrm>
        <a:graphic>
          <a:graphicData uri="http://schemas.openxmlformats.org/drawingml/2006/table">
            <a:tbl>
              <a:tblPr/>
              <a:tblGrid>
                <a:gridCol w="646577">
                  <a:extLst>
                    <a:ext uri="{9D8B030D-6E8A-4147-A177-3AD203B41FA5}">
                      <a16:colId xmlns:a16="http://schemas.microsoft.com/office/drawing/2014/main" val="3649578543"/>
                    </a:ext>
                  </a:extLst>
                </a:gridCol>
                <a:gridCol w="1764613">
                  <a:extLst>
                    <a:ext uri="{9D8B030D-6E8A-4147-A177-3AD203B41FA5}">
                      <a16:colId xmlns:a16="http://schemas.microsoft.com/office/drawing/2014/main" val="4077860993"/>
                    </a:ext>
                  </a:extLst>
                </a:gridCol>
                <a:gridCol w="1764613">
                  <a:extLst>
                    <a:ext uri="{9D8B030D-6E8A-4147-A177-3AD203B41FA5}">
                      <a16:colId xmlns:a16="http://schemas.microsoft.com/office/drawing/2014/main" val="3282183796"/>
                    </a:ext>
                  </a:extLst>
                </a:gridCol>
                <a:gridCol w="1023745">
                  <a:extLst>
                    <a:ext uri="{9D8B030D-6E8A-4147-A177-3AD203B41FA5}">
                      <a16:colId xmlns:a16="http://schemas.microsoft.com/office/drawing/2014/main" val="4259186378"/>
                    </a:ext>
                  </a:extLst>
                </a:gridCol>
                <a:gridCol w="969864">
                  <a:extLst>
                    <a:ext uri="{9D8B030D-6E8A-4147-A177-3AD203B41FA5}">
                      <a16:colId xmlns:a16="http://schemas.microsoft.com/office/drawing/2014/main" val="1455159294"/>
                    </a:ext>
                  </a:extLst>
                </a:gridCol>
                <a:gridCol w="1010275">
                  <a:extLst>
                    <a:ext uri="{9D8B030D-6E8A-4147-A177-3AD203B41FA5}">
                      <a16:colId xmlns:a16="http://schemas.microsoft.com/office/drawing/2014/main" val="1902850823"/>
                    </a:ext>
                  </a:extLst>
                </a:gridCol>
                <a:gridCol w="1764613">
                  <a:extLst>
                    <a:ext uri="{9D8B030D-6E8A-4147-A177-3AD203B41FA5}">
                      <a16:colId xmlns:a16="http://schemas.microsoft.com/office/drawing/2014/main" val="878401376"/>
                    </a:ext>
                  </a:extLst>
                </a:gridCol>
                <a:gridCol w="646577">
                  <a:extLst>
                    <a:ext uri="{9D8B030D-6E8A-4147-A177-3AD203B41FA5}">
                      <a16:colId xmlns:a16="http://schemas.microsoft.com/office/drawing/2014/main" val="1923968134"/>
                    </a:ext>
                  </a:extLst>
                </a:gridCol>
                <a:gridCol w="646577">
                  <a:extLst>
                    <a:ext uri="{9D8B030D-6E8A-4147-A177-3AD203B41FA5}">
                      <a16:colId xmlns:a16="http://schemas.microsoft.com/office/drawing/2014/main" val="801299490"/>
                    </a:ext>
                  </a:extLst>
                </a:gridCol>
              </a:tblGrid>
              <a:tr h="79292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der-Man: No Way Ho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der-Man: Far From Hom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ctor Strang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day the 13t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ster House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agascar: Escape 2 Afric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y Stor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rage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008136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222079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B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/3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713132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C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3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884729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D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852230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ECBA178-3C6D-44B8-B89D-D90DF3A5702A}"/>
              </a:ext>
            </a:extLst>
          </p:cNvPr>
          <p:cNvSpPr txBox="1"/>
          <p:nvPr/>
        </p:nvSpPr>
        <p:spPr>
          <a:xfrm>
            <a:off x="977270" y="5407157"/>
            <a:ext cx="102374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rmalize ratings by subtracting row mean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2286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74051D5-F713-4439-80FD-C0F1B8AE77AD}"/>
              </a:ext>
            </a:extLst>
          </p:cNvPr>
          <p:cNvSpPr txBox="1">
            <a:spLocks/>
          </p:cNvSpPr>
          <p:nvPr/>
        </p:nvSpPr>
        <p:spPr>
          <a:xfrm>
            <a:off x="977273" y="513164"/>
            <a:ext cx="10237455" cy="603740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PPROACH 3: PEARSON COEFFICIENT (OR) CENTERED COSINE SIMILARITY</a:t>
            </a:r>
            <a:endParaRPr kumimoji="0" lang="en-IN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129075AB-A220-4AFC-B862-DB5D08A243B9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367BE673-5257-44D9-AD12-4114A3DEA7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7191938"/>
              </p:ext>
            </p:extLst>
          </p:nvPr>
        </p:nvGraphicFramePr>
        <p:xfrm>
          <a:off x="977272" y="1825011"/>
          <a:ext cx="10237454" cy="2967789"/>
        </p:xfrm>
        <a:graphic>
          <a:graphicData uri="http://schemas.openxmlformats.org/drawingml/2006/table">
            <a:tbl>
              <a:tblPr/>
              <a:tblGrid>
                <a:gridCol w="646577">
                  <a:extLst>
                    <a:ext uri="{9D8B030D-6E8A-4147-A177-3AD203B41FA5}">
                      <a16:colId xmlns:a16="http://schemas.microsoft.com/office/drawing/2014/main" val="3649578543"/>
                    </a:ext>
                  </a:extLst>
                </a:gridCol>
                <a:gridCol w="1764613">
                  <a:extLst>
                    <a:ext uri="{9D8B030D-6E8A-4147-A177-3AD203B41FA5}">
                      <a16:colId xmlns:a16="http://schemas.microsoft.com/office/drawing/2014/main" val="4077860993"/>
                    </a:ext>
                  </a:extLst>
                </a:gridCol>
                <a:gridCol w="1764613">
                  <a:extLst>
                    <a:ext uri="{9D8B030D-6E8A-4147-A177-3AD203B41FA5}">
                      <a16:colId xmlns:a16="http://schemas.microsoft.com/office/drawing/2014/main" val="3282183796"/>
                    </a:ext>
                  </a:extLst>
                </a:gridCol>
                <a:gridCol w="1023745">
                  <a:extLst>
                    <a:ext uri="{9D8B030D-6E8A-4147-A177-3AD203B41FA5}">
                      <a16:colId xmlns:a16="http://schemas.microsoft.com/office/drawing/2014/main" val="4259186378"/>
                    </a:ext>
                  </a:extLst>
                </a:gridCol>
                <a:gridCol w="969864">
                  <a:extLst>
                    <a:ext uri="{9D8B030D-6E8A-4147-A177-3AD203B41FA5}">
                      <a16:colId xmlns:a16="http://schemas.microsoft.com/office/drawing/2014/main" val="1455159294"/>
                    </a:ext>
                  </a:extLst>
                </a:gridCol>
                <a:gridCol w="1010275">
                  <a:extLst>
                    <a:ext uri="{9D8B030D-6E8A-4147-A177-3AD203B41FA5}">
                      <a16:colId xmlns:a16="http://schemas.microsoft.com/office/drawing/2014/main" val="1902850823"/>
                    </a:ext>
                  </a:extLst>
                </a:gridCol>
                <a:gridCol w="1764613">
                  <a:extLst>
                    <a:ext uri="{9D8B030D-6E8A-4147-A177-3AD203B41FA5}">
                      <a16:colId xmlns:a16="http://schemas.microsoft.com/office/drawing/2014/main" val="878401376"/>
                    </a:ext>
                  </a:extLst>
                </a:gridCol>
                <a:gridCol w="646577">
                  <a:extLst>
                    <a:ext uri="{9D8B030D-6E8A-4147-A177-3AD203B41FA5}">
                      <a16:colId xmlns:a16="http://schemas.microsoft.com/office/drawing/2014/main" val="1923968134"/>
                    </a:ext>
                  </a:extLst>
                </a:gridCol>
                <a:gridCol w="646577">
                  <a:extLst>
                    <a:ext uri="{9D8B030D-6E8A-4147-A177-3AD203B41FA5}">
                      <a16:colId xmlns:a16="http://schemas.microsoft.com/office/drawing/2014/main" val="801299490"/>
                    </a:ext>
                  </a:extLst>
                </a:gridCol>
              </a:tblGrid>
              <a:tr h="79292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der-Man: No Way Ho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der-Man: Far From Hom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ctor Strang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day the 13t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ster House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agascar: Escape 2 Afric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y Stor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rage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008136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/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222079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B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/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/3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713132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C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/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3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884729"/>
                  </a:ext>
                </a:extLst>
              </a:tr>
              <a:tr h="5437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D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852230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4D6B18E-912E-4960-8DF2-250683533D3E}"/>
              </a:ext>
            </a:extLst>
          </p:cNvPr>
          <p:cNvSpPr txBox="1"/>
          <p:nvPr/>
        </p:nvSpPr>
        <p:spPr>
          <a:xfrm>
            <a:off x="977272" y="4994220"/>
            <a:ext cx="1023745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m(A,B) = cos(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,r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= 0.09; sim(A,C) = -0.5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sim(A,B) &gt; sim(A,C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ptures intuition better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ssing ratings treated as “average”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dles “tough raters” as “easy raters”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83008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EB49675-2C6F-4E74-BB87-3F268329E547}"/>
              </a:ext>
            </a:extLst>
          </p:cNvPr>
          <p:cNvSpPr txBox="1"/>
          <p:nvPr/>
        </p:nvSpPr>
        <p:spPr>
          <a:xfrm>
            <a:off x="0" y="590444"/>
            <a:ext cx="1219200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ESULTS OF USER-BASED COLLABORATIVE FILTERING</a:t>
            </a:r>
            <a:endParaRPr kumimoji="0" lang="en-IN" sz="3700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3D78A-2E1B-42DE-A729-DD60B6829996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9D99E3-DF97-4F12-BEA6-1FF97EE1F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7224" y="2572063"/>
            <a:ext cx="5446911" cy="35052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4D22690-A4FC-4949-9C3C-DAB93622BBC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896"/>
          <a:stretch/>
        </p:blipFill>
        <p:spPr>
          <a:xfrm>
            <a:off x="284389" y="2572063"/>
            <a:ext cx="5483210" cy="35052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3CDE761-3041-4465-A55D-FCBB5757936B}"/>
              </a:ext>
            </a:extLst>
          </p:cNvPr>
          <p:cNvCxnSpPr>
            <a:cxnSpLocks/>
          </p:cNvCxnSpPr>
          <p:nvPr/>
        </p:nvCxnSpPr>
        <p:spPr>
          <a:xfrm>
            <a:off x="88825" y="1722374"/>
            <a:ext cx="11800873" cy="0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135F811-040C-43BB-B132-7A5A28616F1C}"/>
              </a:ext>
            </a:extLst>
          </p:cNvPr>
          <p:cNvCxnSpPr>
            <a:cxnSpLocks/>
          </p:cNvCxnSpPr>
          <p:nvPr/>
        </p:nvCxnSpPr>
        <p:spPr>
          <a:xfrm>
            <a:off x="5989262" y="1722374"/>
            <a:ext cx="0" cy="5135626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FBE1E2DB-CF7A-461F-9D8D-BDA246AA7C2F}"/>
              </a:ext>
            </a:extLst>
          </p:cNvPr>
          <p:cNvSpPr txBox="1"/>
          <p:nvPr/>
        </p:nvSpPr>
        <p:spPr>
          <a:xfrm>
            <a:off x="464787" y="1962553"/>
            <a:ext cx="5122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all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mple data of movies rated ‘5’ by User 333</a:t>
            </a:r>
            <a:endParaRPr kumimoji="0" lang="en-IN" sz="1400" b="1" i="0" u="none" strike="noStrike" kern="1200" cap="all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FDAAB1-C66B-46DA-9DC6-934C18869A04}"/>
              </a:ext>
            </a:extLst>
          </p:cNvPr>
          <p:cNvSpPr txBox="1"/>
          <p:nvPr/>
        </p:nvSpPr>
        <p:spPr>
          <a:xfrm>
            <a:off x="6409472" y="1971899"/>
            <a:ext cx="5122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all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vies recommended to User 333</a:t>
            </a:r>
            <a:endParaRPr kumimoji="0" lang="en-IN" sz="1400" b="1" i="0" u="none" strike="noStrike" kern="1200" cap="all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0598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9949B0A-4798-4DE7-A48E-D9D45448B8BF}"/>
              </a:ext>
            </a:extLst>
          </p:cNvPr>
          <p:cNvSpPr txBox="1">
            <a:spLocks/>
          </p:cNvSpPr>
          <p:nvPr/>
        </p:nvSpPr>
        <p:spPr>
          <a:xfrm>
            <a:off x="-3291" y="562076"/>
            <a:ext cx="12192000" cy="60374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700" b="1" dirty="0">
                <a:solidFill>
                  <a:schemeClr val="accent1"/>
                </a:solidFill>
                <a:latin typeface="Arial"/>
                <a:cs typeface="Arial"/>
              </a:rPr>
              <a:t>THE PROCESS</a:t>
            </a:r>
            <a:endParaRPr lang="en-US" sz="3700" b="1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C0D76A-42A5-4E4B-ABC5-1726C9867EED}"/>
              </a:ext>
            </a:extLst>
          </p:cNvPr>
          <p:cNvSpPr/>
          <p:nvPr/>
        </p:nvSpPr>
        <p:spPr>
          <a:xfrm>
            <a:off x="326213" y="1569781"/>
            <a:ext cx="5769788" cy="399850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Identifying the Datase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Data Pre-processing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Exploratory Data Analysi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Identifying and Building the ML model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Data Validation and Movie Recommendation</a:t>
            </a:r>
          </a:p>
        </p:txBody>
      </p:sp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16DD2FB4-5EF3-46BF-B101-0E7643AC2A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0449" y="1569780"/>
            <a:ext cx="4005458" cy="2456309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01808C59-2053-40FC-AEA0-3B07994CA6A2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en-GB" sz="1100" dirty="0">
                <a:solidFill>
                  <a:prstClr val="black"/>
                </a:solidFill>
              </a:rPr>
              <a:t>RIT | MS Data Science | Fall 2021 | DSCI 633 | Final Project</a:t>
            </a:r>
            <a:endParaRPr lang="en-US" sz="1100" b="0" dirty="0"/>
          </a:p>
          <a:p>
            <a:pPr algn="r" defTabSz="1088633"/>
            <a:endParaRPr lang="en-GB" sz="11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7645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EB49675-2C6F-4E74-BB87-3F268329E547}"/>
              </a:ext>
            </a:extLst>
          </p:cNvPr>
          <p:cNvSpPr txBox="1"/>
          <p:nvPr/>
        </p:nvSpPr>
        <p:spPr>
          <a:xfrm>
            <a:off x="0" y="513035"/>
            <a:ext cx="1219200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ROS AND CONS OF USER-BASED COLLABORATIVE FILTERING</a:t>
            </a:r>
            <a:endParaRPr kumimoji="0" lang="en-IN" sz="3700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3D78A-2E1B-42DE-A729-DD60B6829996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3CDE761-3041-4465-A55D-FCBB5757936B}"/>
              </a:ext>
            </a:extLst>
          </p:cNvPr>
          <p:cNvCxnSpPr>
            <a:cxnSpLocks/>
          </p:cNvCxnSpPr>
          <p:nvPr/>
        </p:nvCxnSpPr>
        <p:spPr>
          <a:xfrm>
            <a:off x="195563" y="1729338"/>
            <a:ext cx="11800873" cy="0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135F811-040C-43BB-B132-7A5A28616F1C}"/>
              </a:ext>
            </a:extLst>
          </p:cNvPr>
          <p:cNvCxnSpPr>
            <a:cxnSpLocks/>
          </p:cNvCxnSpPr>
          <p:nvPr/>
        </p:nvCxnSpPr>
        <p:spPr>
          <a:xfrm flipH="1">
            <a:off x="6095999" y="1729338"/>
            <a:ext cx="1" cy="5128662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FBE1E2DB-CF7A-461F-9D8D-BDA246AA7C2F}"/>
              </a:ext>
            </a:extLst>
          </p:cNvPr>
          <p:cNvSpPr txBox="1"/>
          <p:nvPr/>
        </p:nvSpPr>
        <p:spPr>
          <a:xfrm>
            <a:off x="481325" y="2123404"/>
            <a:ext cx="5122413" cy="33855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S</a:t>
            </a:r>
            <a:endParaRPr kumimoji="0" lang="en-IN" sz="16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FDAAB1-C66B-46DA-9DC6-934C18869A04}"/>
              </a:ext>
            </a:extLst>
          </p:cNvPr>
          <p:cNvSpPr txBox="1"/>
          <p:nvPr/>
        </p:nvSpPr>
        <p:spPr>
          <a:xfrm>
            <a:off x="6678462" y="2123404"/>
            <a:ext cx="5122413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</a:t>
            </a:r>
            <a:endParaRPr kumimoji="0" lang="en-IN" sz="18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4E2012-F949-49C4-AD9A-E8BB4C42F511}"/>
              </a:ext>
            </a:extLst>
          </p:cNvPr>
          <p:cNvSpPr txBox="1"/>
          <p:nvPr/>
        </p:nvSpPr>
        <p:spPr>
          <a:xfrm>
            <a:off x="391125" y="2936540"/>
            <a:ext cx="530281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harter"/>
                <a:ea typeface="+mn-ea"/>
                <a:cs typeface="+mn-cs"/>
              </a:rPr>
              <a:t>Greater diversity in the recommendation proces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charter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harter"/>
                <a:ea typeface="+mn-ea"/>
                <a:cs typeface="+mn-cs"/>
              </a:rPr>
              <a:t>Performance of user-based recommenders keeps improving (albeit very slightly) as neighborhood sizes are increase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charte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charte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charte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151A90D-9568-4189-8259-E36D90F7B865}"/>
              </a:ext>
            </a:extLst>
          </p:cNvPr>
          <p:cNvSpPr txBox="1"/>
          <p:nvPr/>
        </p:nvSpPr>
        <p:spPr>
          <a:xfrm>
            <a:off x="6427387" y="2936540"/>
            <a:ext cx="537348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harter"/>
                <a:ea typeface="+mn-ea"/>
                <a:cs typeface="+mn-cs"/>
              </a:rPr>
              <a:t>Sparsity: The percentage of people who rate items is really low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charter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harter"/>
                <a:ea typeface="+mn-ea"/>
                <a:cs typeface="+mn-cs"/>
              </a:rPr>
              <a:t>Cold-start: New users will have no to little information about them to be compared with other user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charter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harter"/>
                <a:ea typeface="+mn-ea"/>
                <a:cs typeface="+mn-cs"/>
              </a:rPr>
              <a:t>Scalability: The more users there are in the system, the greater the cost of finding the nearest K neighbors will be.</a:t>
            </a:r>
          </a:p>
        </p:txBody>
      </p:sp>
    </p:spTree>
    <p:extLst>
      <p:ext uri="{BB962C8B-B14F-4D97-AF65-F5344CB8AC3E}">
        <p14:creationId xmlns:p14="http://schemas.microsoft.com/office/powerpoint/2010/main" val="1608363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00FADFB4-0A2A-4041-9166-8370DFC71D01}"/>
              </a:ext>
            </a:extLst>
          </p:cNvPr>
          <p:cNvSpPr txBox="1"/>
          <p:nvPr/>
        </p:nvSpPr>
        <p:spPr>
          <a:xfrm>
            <a:off x="827114" y="5563615"/>
            <a:ext cx="10731154" cy="637774"/>
          </a:xfrm>
          <a:prstGeom prst="rect">
            <a:avLst/>
          </a:prstGeom>
          <a:noFill/>
          <a:ln>
            <a:solidFill>
              <a:srgbClr val="00677F"/>
            </a:solidFill>
          </a:ln>
        </p:spPr>
        <p:txBody>
          <a:bodyPr wrap="square" lIns="71963" tIns="71963" rIns="71963" bIns="71963" rtlCol="0" anchor="t">
            <a:spAutoFit/>
          </a:bodyPr>
          <a:lstStyle/>
          <a:p>
            <a:pPr marL="454025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fter implementing the recommendation system with a manual approach (which was very inefficient) we decided to implement an user type collaborative filtering with different approach 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2">
            <a:extLst>
              <a:ext uri="{FF2B5EF4-FFF2-40B4-BE49-F238E27FC236}">
                <a16:creationId xmlns:a16="http://schemas.microsoft.com/office/drawing/2014/main" id="{F2D42B69-3937-4F7D-8DF2-008FDA9CF11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2909" y="1428895"/>
            <a:ext cx="10981679" cy="4848793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sp>
        <p:nvSpPr>
          <p:cNvPr id="29" name="Footer Placeholder 5">
            <a:extLst>
              <a:ext uri="{FF2B5EF4-FFF2-40B4-BE49-F238E27FC236}">
                <a16:creationId xmlns:a16="http://schemas.microsoft.com/office/drawing/2014/main" id="{F5AA5F9A-373E-4B7C-A38A-B8F2E2502D7C}"/>
              </a:ext>
            </a:extLst>
          </p:cNvPr>
          <p:cNvSpPr txBox="1">
            <a:spLocks/>
          </p:cNvSpPr>
          <p:nvPr/>
        </p:nvSpPr>
        <p:spPr>
          <a:xfrm>
            <a:off x="-344983" y="6463879"/>
            <a:ext cx="12192000" cy="21600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													RIT | MS Data Science | Fall 2021 | DSCI 633 | Final Project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EDD7D8D-A766-48FD-9BCB-D1724D0B7CFF}"/>
              </a:ext>
            </a:extLst>
          </p:cNvPr>
          <p:cNvSpPr txBox="1">
            <a:spLocks/>
          </p:cNvSpPr>
          <p:nvPr/>
        </p:nvSpPr>
        <p:spPr>
          <a:xfrm>
            <a:off x="574141" y="684545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b="1" i="0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COLLABORATIVE FILTERING AGAIN!</a:t>
            </a:r>
            <a:endParaRPr kumimoji="0" lang="en-IN" b="1" i="0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7" name="Pentagon 23">
            <a:extLst>
              <a:ext uri="{FF2B5EF4-FFF2-40B4-BE49-F238E27FC236}">
                <a16:creationId xmlns:a16="http://schemas.microsoft.com/office/drawing/2014/main" id="{9E344B9E-5D1A-4EAF-B914-481621CC12E2}"/>
              </a:ext>
            </a:extLst>
          </p:cNvPr>
          <p:cNvSpPr/>
          <p:nvPr/>
        </p:nvSpPr>
        <p:spPr>
          <a:xfrm>
            <a:off x="577654" y="5556334"/>
            <a:ext cx="685637" cy="720543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3" tIns="71963" rIns="71963" bIns="71963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r CS" pitchFamily="2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D5D9886-6333-4AFA-A064-787413D9D970}"/>
              </a:ext>
            </a:extLst>
          </p:cNvPr>
          <p:cNvSpPr/>
          <p:nvPr/>
        </p:nvSpPr>
        <p:spPr>
          <a:xfrm>
            <a:off x="1130275" y="1435778"/>
            <a:ext cx="4523477" cy="437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llaborative Filter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ED2B79-48A9-4D20-A64B-7AD53EBBDCC0}"/>
              </a:ext>
            </a:extLst>
          </p:cNvPr>
          <p:cNvSpPr/>
          <p:nvPr/>
        </p:nvSpPr>
        <p:spPr>
          <a:xfrm>
            <a:off x="7056387" y="1443032"/>
            <a:ext cx="4513654" cy="437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arnings</a:t>
            </a:r>
          </a:p>
        </p:txBody>
      </p:sp>
      <p:pic>
        <p:nvPicPr>
          <p:cNvPr id="9" name="Picture 8" descr="A picture containing watch, clipart&#10;&#10;Description automatically generated">
            <a:extLst>
              <a:ext uri="{FF2B5EF4-FFF2-40B4-BE49-F238E27FC236}">
                <a16:creationId xmlns:a16="http://schemas.microsoft.com/office/drawing/2014/main" id="{3F7935D4-BF33-4A02-8142-918FB8A39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946" y="1443330"/>
            <a:ext cx="526329" cy="437641"/>
          </a:xfrm>
          <a:prstGeom prst="rect">
            <a:avLst/>
          </a:prstGeom>
        </p:spPr>
      </p:pic>
      <p:pic>
        <p:nvPicPr>
          <p:cNvPr id="11" name="Picture 10" descr="A picture containing map&#10;&#10;Description automatically generated">
            <a:extLst>
              <a:ext uri="{FF2B5EF4-FFF2-40B4-BE49-F238E27FC236}">
                <a16:creationId xmlns:a16="http://schemas.microsoft.com/office/drawing/2014/main" id="{BE9FD96C-18D2-4306-BDDD-D167FD4D0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9106" y="1443581"/>
            <a:ext cx="527280" cy="43764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E511D10-83E2-44AC-AB79-C3FBDC4C6531}"/>
              </a:ext>
            </a:extLst>
          </p:cNvPr>
          <p:cNvSpPr/>
          <p:nvPr/>
        </p:nvSpPr>
        <p:spPr>
          <a:xfrm>
            <a:off x="6516539" y="3389322"/>
            <a:ext cx="4958909" cy="7818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filters are expected to increase diversity because they help us discover new product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63CF284-11A1-4295-ACC4-BF3FC5161738}"/>
              </a:ext>
            </a:extLst>
          </p:cNvPr>
          <p:cNvSpPr/>
          <p:nvPr/>
        </p:nvSpPr>
        <p:spPr>
          <a:xfrm>
            <a:off x="6516539" y="4508211"/>
            <a:ext cx="4958909" cy="7818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filters help in bringing up personal recommendations unlike content based system</a:t>
            </a:r>
          </a:p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5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3A53A47-F9E8-4AFE-90B9-57FDF4BCADF4}"/>
              </a:ext>
            </a:extLst>
          </p:cNvPr>
          <p:cNvSpPr/>
          <p:nvPr/>
        </p:nvSpPr>
        <p:spPr>
          <a:xfrm>
            <a:off x="6521794" y="2202115"/>
            <a:ext cx="4953654" cy="8549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ser – User Collaborative Filtering </a:t>
            </a:r>
          </a:p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tem – Item Collaborative Filtering</a:t>
            </a:r>
          </a:p>
        </p:txBody>
      </p:sp>
      <p:sp>
        <p:nvSpPr>
          <p:cNvPr id="21" name="Flowchart: Extract 20">
            <a:extLst>
              <a:ext uri="{FF2B5EF4-FFF2-40B4-BE49-F238E27FC236}">
                <a16:creationId xmlns:a16="http://schemas.microsoft.com/office/drawing/2014/main" id="{30892889-AFEE-4425-BE0E-A1A0EE73B79E}"/>
              </a:ext>
            </a:extLst>
          </p:cNvPr>
          <p:cNvSpPr/>
          <p:nvPr/>
        </p:nvSpPr>
        <p:spPr>
          <a:xfrm rot="5400000">
            <a:off x="4344735" y="3366768"/>
            <a:ext cx="3696885" cy="196258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7E9FF4-F898-49CD-8A4A-A084EE5856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8000" y="2073553"/>
            <a:ext cx="3248025" cy="313062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D36D81E-E2F5-4E6D-85B6-76115C9FED3A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31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E2F8D59-60C4-4CDE-9881-753B996658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BB1F7B8-E2EA-4BAE-9DC7-4CF09E9324F3}"/>
              </a:ext>
            </a:extLst>
          </p:cNvPr>
          <p:cNvSpPr/>
          <p:nvPr/>
        </p:nvSpPr>
        <p:spPr>
          <a:xfrm>
            <a:off x="6511284" y="4546203"/>
            <a:ext cx="4958909" cy="7818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filters help in bringing up personal recommendations unlike content based system</a:t>
            </a:r>
          </a:p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F0C8C2F-D8A4-4F9F-86AA-17047F40756C}"/>
              </a:ext>
            </a:extLst>
          </p:cNvPr>
          <p:cNvSpPr/>
          <p:nvPr/>
        </p:nvSpPr>
        <p:spPr>
          <a:xfrm>
            <a:off x="6516539" y="2240107"/>
            <a:ext cx="4953654" cy="8549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ser – User Collaborative Filtering </a:t>
            </a:r>
          </a:p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tem – Item Collaborative Filtering</a:t>
            </a:r>
          </a:p>
        </p:txBody>
      </p:sp>
    </p:spTree>
    <p:extLst>
      <p:ext uri="{BB962C8B-B14F-4D97-AF65-F5344CB8AC3E}">
        <p14:creationId xmlns:p14="http://schemas.microsoft.com/office/powerpoint/2010/main" val="33776488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651C006-7904-47EB-A0B4-26FFCEEDB1C9}"/>
              </a:ext>
            </a:extLst>
          </p:cNvPr>
          <p:cNvGrpSpPr/>
          <p:nvPr/>
        </p:nvGrpSpPr>
        <p:grpSpPr>
          <a:xfrm>
            <a:off x="1063377" y="1516251"/>
            <a:ext cx="2160173" cy="2006230"/>
            <a:chOff x="1047752" y="1284037"/>
            <a:chExt cx="2408651" cy="228783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BCFF8BF-89F8-42DD-8AF5-D5AD46259860}"/>
                </a:ext>
              </a:extLst>
            </p:cNvPr>
            <p:cNvSpPr/>
            <p:nvPr/>
          </p:nvSpPr>
          <p:spPr>
            <a:xfrm>
              <a:off x="1076325" y="1407357"/>
              <a:ext cx="1800225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61CC88E-0C12-4428-AF00-4DDFCC76191D}"/>
                </a:ext>
              </a:extLst>
            </p:cNvPr>
            <p:cNvSpPr/>
            <p:nvPr/>
          </p:nvSpPr>
          <p:spPr>
            <a:xfrm>
              <a:off x="1076324" y="1407357"/>
              <a:ext cx="1800225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38E2ECE-802F-4C4A-941A-C684347EA3E5}"/>
                </a:ext>
              </a:extLst>
            </p:cNvPr>
            <p:cNvSpPr/>
            <p:nvPr/>
          </p:nvSpPr>
          <p:spPr>
            <a:xfrm>
              <a:off x="1076324" y="1407357"/>
              <a:ext cx="2124075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Create an imaginary user who has watched and rated some movies, used as input data</a:t>
              </a:r>
            </a:p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3393CFD8-2CBD-4C97-B035-A4CF46529BD0}"/>
                </a:ext>
              </a:extLst>
            </p:cNvPr>
            <p:cNvSpPr/>
            <p:nvPr/>
          </p:nvSpPr>
          <p:spPr>
            <a:xfrm>
              <a:off x="1047752" y="1407357"/>
              <a:ext cx="123821" cy="216451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8" name="Hexagon 7">
              <a:extLst>
                <a:ext uri="{FF2B5EF4-FFF2-40B4-BE49-F238E27FC236}">
                  <a16:creationId xmlns:a16="http://schemas.microsoft.com/office/drawing/2014/main" id="{9A40B782-9F03-466E-875D-71E89558D152}"/>
                </a:ext>
              </a:extLst>
            </p:cNvPr>
            <p:cNvSpPr/>
            <p:nvPr/>
          </p:nvSpPr>
          <p:spPr>
            <a:xfrm rot="5400000">
              <a:off x="2902782" y="1320965"/>
              <a:ext cx="590550" cy="516693"/>
            </a:xfrm>
            <a:prstGeom prst="hexagon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E1E441B-91EB-41CA-83A4-FE351BB82576}"/>
              </a:ext>
            </a:extLst>
          </p:cNvPr>
          <p:cNvGrpSpPr/>
          <p:nvPr/>
        </p:nvGrpSpPr>
        <p:grpSpPr>
          <a:xfrm>
            <a:off x="1059375" y="4217968"/>
            <a:ext cx="2164174" cy="2027657"/>
            <a:chOff x="1038229" y="3997299"/>
            <a:chExt cx="2418173" cy="2309265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4A82804-C02A-4715-AC21-F8E2B1B803C8}"/>
                </a:ext>
              </a:extLst>
            </p:cNvPr>
            <p:cNvSpPr/>
            <p:nvPr/>
          </p:nvSpPr>
          <p:spPr>
            <a:xfrm>
              <a:off x="1076324" y="4142046"/>
              <a:ext cx="1800225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75433D6-2FF6-452D-9683-34CB4C545B52}"/>
                </a:ext>
              </a:extLst>
            </p:cNvPr>
            <p:cNvSpPr/>
            <p:nvPr/>
          </p:nvSpPr>
          <p:spPr>
            <a:xfrm>
              <a:off x="1076325" y="4142046"/>
              <a:ext cx="2009776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FFFE997-87B9-41F4-B099-3C59A125101F}"/>
                </a:ext>
              </a:extLst>
            </p:cNvPr>
            <p:cNvSpPr/>
            <p:nvPr/>
          </p:nvSpPr>
          <p:spPr>
            <a:xfrm>
              <a:off x="1076323" y="4142046"/>
              <a:ext cx="2124075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Get the watched movie record of the user for each neighbor</a:t>
              </a:r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AA6400F5-BDFA-4C0C-BEC1-6CF539ADB185}"/>
                </a:ext>
              </a:extLst>
            </p:cNvPr>
            <p:cNvSpPr/>
            <p:nvPr/>
          </p:nvSpPr>
          <p:spPr>
            <a:xfrm>
              <a:off x="1038229" y="4142046"/>
              <a:ext cx="123821" cy="216451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52" name="Hexagon 51">
              <a:extLst>
                <a:ext uri="{FF2B5EF4-FFF2-40B4-BE49-F238E27FC236}">
                  <a16:creationId xmlns:a16="http://schemas.microsoft.com/office/drawing/2014/main" id="{3DEB1212-2936-47D2-BAC7-D03D1D3AF83E}"/>
                </a:ext>
              </a:extLst>
            </p:cNvPr>
            <p:cNvSpPr/>
            <p:nvPr/>
          </p:nvSpPr>
          <p:spPr>
            <a:xfrm rot="5400000">
              <a:off x="2902781" y="4034227"/>
              <a:ext cx="590550" cy="516693"/>
            </a:xfrm>
            <a:prstGeom prst="hexagon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6370174-BF26-495F-8632-A7F6578190EE}"/>
              </a:ext>
            </a:extLst>
          </p:cNvPr>
          <p:cNvGrpSpPr/>
          <p:nvPr/>
        </p:nvGrpSpPr>
        <p:grpSpPr>
          <a:xfrm>
            <a:off x="5082927" y="4230383"/>
            <a:ext cx="2143464" cy="2015242"/>
            <a:chOff x="5067302" y="4009714"/>
            <a:chExt cx="2391942" cy="229685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2B31D5A-5EDB-4A4A-8E67-DCD196548759}"/>
                </a:ext>
              </a:extLst>
            </p:cNvPr>
            <p:cNvSpPr/>
            <p:nvPr/>
          </p:nvSpPr>
          <p:spPr>
            <a:xfrm>
              <a:off x="5076824" y="4142046"/>
              <a:ext cx="1800225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53B4B43B-ACF1-4420-AA2A-A0D919EFEE89}"/>
                </a:ext>
              </a:extLst>
            </p:cNvPr>
            <p:cNvSpPr/>
            <p:nvPr/>
          </p:nvSpPr>
          <p:spPr>
            <a:xfrm>
              <a:off x="5076825" y="4142046"/>
              <a:ext cx="2009776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151869A-A06F-4C17-B509-32EBFACC2455}"/>
                </a:ext>
              </a:extLst>
            </p:cNvPr>
            <p:cNvSpPr/>
            <p:nvPr/>
          </p:nvSpPr>
          <p:spPr>
            <a:xfrm>
              <a:off x="5076823" y="4142046"/>
              <a:ext cx="2124075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Calculate a similarity score using </a:t>
              </a: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Pearson</a:t>
              </a:r>
            </a:p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   Correlation </a:t>
              </a: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C4DEFF4F-7729-4C90-93F6-2AD5FE5F00D9}"/>
                </a:ext>
              </a:extLst>
            </p:cNvPr>
            <p:cNvSpPr/>
            <p:nvPr/>
          </p:nvSpPr>
          <p:spPr>
            <a:xfrm>
              <a:off x="5067302" y="4142046"/>
              <a:ext cx="123821" cy="216451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53" name="Hexagon 52">
              <a:extLst>
                <a:ext uri="{FF2B5EF4-FFF2-40B4-BE49-F238E27FC236}">
                  <a16:creationId xmlns:a16="http://schemas.microsoft.com/office/drawing/2014/main" id="{061A2777-50B4-4059-AD85-27E3C5ED3D3A}"/>
                </a:ext>
              </a:extLst>
            </p:cNvPr>
            <p:cNvSpPr/>
            <p:nvPr/>
          </p:nvSpPr>
          <p:spPr>
            <a:xfrm rot="5400000">
              <a:off x="6905623" y="4046642"/>
              <a:ext cx="590550" cy="516693"/>
            </a:xfrm>
            <a:prstGeom prst="hexagon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A16101D-0CC8-4DF9-8E1F-CFC5E9CC9B52}"/>
              </a:ext>
            </a:extLst>
          </p:cNvPr>
          <p:cNvGrpSpPr/>
          <p:nvPr/>
        </p:nvGrpSpPr>
        <p:grpSpPr>
          <a:xfrm>
            <a:off x="9035798" y="1497272"/>
            <a:ext cx="2136949" cy="2013664"/>
            <a:chOff x="9020173" y="1276603"/>
            <a:chExt cx="2385427" cy="2295272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969C382-159C-4B18-8D47-5CCADDA538B3}"/>
                </a:ext>
              </a:extLst>
            </p:cNvPr>
            <p:cNvSpPr/>
            <p:nvPr/>
          </p:nvSpPr>
          <p:spPr>
            <a:xfrm>
              <a:off x="9020175" y="1407357"/>
              <a:ext cx="1800225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3797FC9-3951-4310-B7EB-BADA63459858}"/>
                </a:ext>
              </a:extLst>
            </p:cNvPr>
            <p:cNvSpPr/>
            <p:nvPr/>
          </p:nvSpPr>
          <p:spPr>
            <a:xfrm>
              <a:off x="9020174" y="1407357"/>
              <a:ext cx="1800225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A2B685D-35EF-4768-B816-0C017897BECC}"/>
                </a:ext>
              </a:extLst>
            </p:cNvPr>
            <p:cNvSpPr/>
            <p:nvPr/>
          </p:nvSpPr>
          <p:spPr>
            <a:xfrm>
              <a:off x="9020175" y="1407357"/>
              <a:ext cx="2009776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DFF5F21-7E64-443A-AB0F-03080D9FBD44}"/>
                </a:ext>
              </a:extLst>
            </p:cNvPr>
            <p:cNvSpPr/>
            <p:nvPr/>
          </p:nvSpPr>
          <p:spPr>
            <a:xfrm>
              <a:off x="9020173" y="1407357"/>
              <a:ext cx="2124075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Based on his rating to movies, find the top X neighbors</a:t>
              </a: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860A5DBE-1C05-4682-8988-290DDCC4AB05}"/>
                </a:ext>
              </a:extLst>
            </p:cNvPr>
            <p:cNvSpPr/>
            <p:nvPr/>
          </p:nvSpPr>
          <p:spPr>
            <a:xfrm>
              <a:off x="9020175" y="1407357"/>
              <a:ext cx="123821" cy="216451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55" name="Hexagon 54">
              <a:extLst>
                <a:ext uri="{FF2B5EF4-FFF2-40B4-BE49-F238E27FC236}">
                  <a16:creationId xmlns:a16="http://schemas.microsoft.com/office/drawing/2014/main" id="{343EBC85-A817-4259-9C37-64D927010B3D}"/>
                </a:ext>
              </a:extLst>
            </p:cNvPr>
            <p:cNvSpPr/>
            <p:nvPr/>
          </p:nvSpPr>
          <p:spPr>
            <a:xfrm rot="5400000">
              <a:off x="10851979" y="1313531"/>
              <a:ext cx="590550" cy="516693"/>
            </a:xfrm>
            <a:prstGeom prst="hexagon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806A7FC-202F-4233-8B04-85431537853F}"/>
              </a:ext>
            </a:extLst>
          </p:cNvPr>
          <p:cNvGrpSpPr/>
          <p:nvPr/>
        </p:nvGrpSpPr>
        <p:grpSpPr>
          <a:xfrm>
            <a:off x="9026277" y="4230384"/>
            <a:ext cx="2143462" cy="2015241"/>
            <a:chOff x="9010652" y="4009715"/>
            <a:chExt cx="2391940" cy="2296849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5B0DD12-6F36-48D8-B6E8-FCCC6046EE02}"/>
                </a:ext>
              </a:extLst>
            </p:cNvPr>
            <p:cNvSpPr/>
            <p:nvPr/>
          </p:nvSpPr>
          <p:spPr>
            <a:xfrm>
              <a:off x="9020174" y="4142046"/>
              <a:ext cx="2009776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A3B4F89-0703-4CDD-AB84-02227264F3F9}"/>
                </a:ext>
              </a:extLst>
            </p:cNvPr>
            <p:cNvSpPr/>
            <p:nvPr/>
          </p:nvSpPr>
          <p:spPr>
            <a:xfrm>
              <a:off x="9020172" y="4142046"/>
              <a:ext cx="2124075" cy="216451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Recommend the items with the highest score</a:t>
              </a: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2F1F2729-A823-4391-82E6-0A9274E6DF3B}"/>
                </a:ext>
              </a:extLst>
            </p:cNvPr>
            <p:cNvSpPr/>
            <p:nvPr/>
          </p:nvSpPr>
          <p:spPr>
            <a:xfrm>
              <a:off x="9010652" y="4142046"/>
              <a:ext cx="123821" cy="216451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56" name="Hexagon 55">
              <a:extLst>
                <a:ext uri="{FF2B5EF4-FFF2-40B4-BE49-F238E27FC236}">
                  <a16:creationId xmlns:a16="http://schemas.microsoft.com/office/drawing/2014/main" id="{D5F30A6F-D581-49DF-B75D-8CC084A945F9}"/>
                </a:ext>
              </a:extLst>
            </p:cNvPr>
            <p:cNvSpPr/>
            <p:nvPr/>
          </p:nvSpPr>
          <p:spPr>
            <a:xfrm rot="5400000">
              <a:off x="10848971" y="4046643"/>
              <a:ext cx="590550" cy="516693"/>
            </a:xfrm>
            <a:prstGeom prst="hexagon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60" name="Flowchart: Extract 59">
            <a:extLst>
              <a:ext uri="{FF2B5EF4-FFF2-40B4-BE49-F238E27FC236}">
                <a16:creationId xmlns:a16="http://schemas.microsoft.com/office/drawing/2014/main" id="{E15842B6-7EDE-430D-AC2C-CD28D8EABFA9}"/>
              </a:ext>
            </a:extLst>
          </p:cNvPr>
          <p:cNvSpPr/>
          <p:nvPr/>
        </p:nvSpPr>
        <p:spPr>
          <a:xfrm rot="5400000">
            <a:off x="3168542" y="2409090"/>
            <a:ext cx="1720639" cy="413470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61" name="Flowchart: Extract 60">
            <a:extLst>
              <a:ext uri="{FF2B5EF4-FFF2-40B4-BE49-F238E27FC236}">
                <a16:creationId xmlns:a16="http://schemas.microsoft.com/office/drawing/2014/main" id="{6289268C-F454-4D0E-8ABE-F2F44EF9EF43}"/>
              </a:ext>
            </a:extLst>
          </p:cNvPr>
          <p:cNvSpPr/>
          <p:nvPr/>
        </p:nvSpPr>
        <p:spPr>
          <a:xfrm rot="5400000">
            <a:off x="7217837" y="2392074"/>
            <a:ext cx="1720639" cy="413470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62" name="Flowchart: Extract 61">
            <a:extLst>
              <a:ext uri="{FF2B5EF4-FFF2-40B4-BE49-F238E27FC236}">
                <a16:creationId xmlns:a16="http://schemas.microsoft.com/office/drawing/2014/main" id="{F902D3D4-11C2-48F9-84D8-434282C05186}"/>
              </a:ext>
            </a:extLst>
          </p:cNvPr>
          <p:cNvSpPr/>
          <p:nvPr/>
        </p:nvSpPr>
        <p:spPr>
          <a:xfrm rot="5400000">
            <a:off x="3168542" y="5116760"/>
            <a:ext cx="1720639" cy="413470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63" name="Flowchart: Extract 62">
            <a:extLst>
              <a:ext uri="{FF2B5EF4-FFF2-40B4-BE49-F238E27FC236}">
                <a16:creationId xmlns:a16="http://schemas.microsoft.com/office/drawing/2014/main" id="{7565BA80-27C2-4CCE-AC2D-1DD721E8CCAD}"/>
              </a:ext>
            </a:extLst>
          </p:cNvPr>
          <p:cNvSpPr/>
          <p:nvPr/>
        </p:nvSpPr>
        <p:spPr>
          <a:xfrm rot="5400000">
            <a:off x="7216081" y="5108381"/>
            <a:ext cx="1720639" cy="413470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CE22E18-5F3A-41EF-AAF7-352D41252046}"/>
              </a:ext>
            </a:extLst>
          </p:cNvPr>
          <p:cNvGrpSpPr/>
          <p:nvPr/>
        </p:nvGrpSpPr>
        <p:grpSpPr>
          <a:xfrm>
            <a:off x="5092449" y="1483035"/>
            <a:ext cx="2133943" cy="2005814"/>
            <a:chOff x="5093389" y="1410951"/>
            <a:chExt cx="2133943" cy="200581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5F52CC6-FA1A-4B70-AED5-733F768281AF}"/>
                </a:ext>
              </a:extLst>
            </p:cNvPr>
            <p:cNvSpPr/>
            <p:nvPr/>
          </p:nvSpPr>
          <p:spPr>
            <a:xfrm>
              <a:off x="5093390" y="1519507"/>
              <a:ext cx="1612468" cy="189725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695DE6A-13C7-430C-A50E-51A699A66072}"/>
                </a:ext>
              </a:extLst>
            </p:cNvPr>
            <p:cNvSpPr/>
            <p:nvPr/>
          </p:nvSpPr>
          <p:spPr>
            <a:xfrm>
              <a:off x="5093389" y="1519507"/>
              <a:ext cx="1612468" cy="189725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75A88DA7-4111-4EB5-8696-87E011148AC2}"/>
                </a:ext>
              </a:extLst>
            </p:cNvPr>
            <p:cNvSpPr/>
            <p:nvPr/>
          </p:nvSpPr>
          <p:spPr>
            <a:xfrm>
              <a:off x="5093389" y="1519507"/>
              <a:ext cx="1902541" cy="189725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Add movie ID to this imaginary input user</a:t>
              </a: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FA5F0875-0CA0-43AA-BCD9-0F8793A082DB}"/>
                </a:ext>
              </a:extLst>
            </p:cNvPr>
            <p:cNvSpPr/>
            <p:nvPr/>
          </p:nvSpPr>
          <p:spPr>
            <a:xfrm>
              <a:off x="5093390" y="1519507"/>
              <a:ext cx="110907" cy="189725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54" name="Hexagon 53">
              <a:extLst>
                <a:ext uri="{FF2B5EF4-FFF2-40B4-BE49-F238E27FC236}">
                  <a16:creationId xmlns:a16="http://schemas.microsoft.com/office/drawing/2014/main" id="{78B38877-5DA9-4B95-888C-AA812A31338D}"/>
                </a:ext>
              </a:extLst>
            </p:cNvPr>
            <p:cNvSpPr/>
            <p:nvPr/>
          </p:nvSpPr>
          <p:spPr>
            <a:xfrm rot="5400000">
              <a:off x="6737113" y="1438366"/>
              <a:ext cx="517633" cy="462804"/>
            </a:xfrm>
            <a:prstGeom prst="hexagon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B791A41-D431-4C3A-BAAE-E30947A1AD38}"/>
              </a:ext>
            </a:extLst>
          </p:cNvPr>
          <p:cNvSpPr txBox="1">
            <a:spLocks/>
          </p:cNvSpPr>
          <p:nvPr/>
        </p:nvSpPr>
        <p:spPr>
          <a:xfrm>
            <a:off x="600776" y="575615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6565" marR="0" lvl="0" indent="-456565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6 STEPS WERE CARRIED OUT IN THIS USER COLLABORATIVE 2</a:t>
            </a:r>
            <a:r>
              <a:rPr kumimoji="0" lang="en-US" sz="2800" b="1" i="0" u="none" strike="noStrike" kern="1200" cap="none" spc="0" normalizeH="0" baseline="3000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ND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 APPROACH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3" name="Rectangle 32">
            <a:extLst>
              <a:ext uri="{FF2B5EF4-FFF2-40B4-BE49-F238E27FC236}">
                <a16:creationId xmlns:a16="http://schemas.microsoft.com/office/drawing/2014/main" id="{2F5FCA58-2EE8-4147-8B15-11E4096A287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6448" y="1486422"/>
            <a:ext cx="10987200" cy="4932623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sp>
        <p:nvSpPr>
          <p:cNvPr id="57" name="Footer Placeholder 5">
            <a:extLst>
              <a:ext uri="{FF2B5EF4-FFF2-40B4-BE49-F238E27FC236}">
                <a16:creationId xmlns:a16="http://schemas.microsoft.com/office/drawing/2014/main" id="{E55E3DDB-738A-4F5F-9814-D5034A09E0CE}"/>
              </a:ext>
            </a:extLst>
          </p:cNvPr>
          <p:cNvSpPr txBox="1">
            <a:spLocks/>
          </p:cNvSpPr>
          <p:nvPr/>
        </p:nvSpPr>
        <p:spPr>
          <a:xfrm>
            <a:off x="-344983" y="6463879"/>
            <a:ext cx="12192000" cy="21600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													RIT | MS Data Science | Fall 2021 | DSCI 633 | Final Projec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F6EBD55-FEF5-4B42-B2C7-AB168D6B8A43}"/>
              </a:ext>
            </a:extLst>
          </p:cNvPr>
          <p:cNvSpPr txBox="1"/>
          <p:nvPr/>
        </p:nvSpPr>
        <p:spPr>
          <a:xfrm>
            <a:off x="11476827" y="271191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32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D4F8BAF0-C6D3-431E-81B4-D597B0FB64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566" y="318459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3171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82">
            <a:extLst>
              <a:ext uri="{FF2B5EF4-FFF2-40B4-BE49-F238E27FC236}">
                <a16:creationId xmlns:a16="http://schemas.microsoft.com/office/drawing/2014/main" id="{A4CA2049-F39F-4D7C-BFDB-16D0EA425493}"/>
              </a:ext>
            </a:extLst>
          </p:cNvPr>
          <p:cNvSpPr/>
          <p:nvPr/>
        </p:nvSpPr>
        <p:spPr>
          <a:xfrm>
            <a:off x="4339416" y="3578472"/>
            <a:ext cx="7107766" cy="2124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Sorted groupedby user id who watched input mov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0E2CA46-A525-47CF-A60C-C77C0580044E}"/>
              </a:ext>
            </a:extLst>
          </p:cNvPr>
          <p:cNvSpPr/>
          <p:nvPr/>
        </p:nvSpPr>
        <p:spPr>
          <a:xfrm>
            <a:off x="4353068" y="3549897"/>
            <a:ext cx="7105433" cy="1981010"/>
          </a:xfrm>
          <a:prstGeom prst="rect">
            <a:avLst/>
          </a:prstGeom>
          <a:noFill/>
          <a:ln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36" name="Rectangle 32">
            <a:extLst>
              <a:ext uri="{FF2B5EF4-FFF2-40B4-BE49-F238E27FC236}">
                <a16:creationId xmlns:a16="http://schemas.microsoft.com/office/drawing/2014/main" id="{F2D42B69-3937-4F7D-8DF2-008FDA9CF11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2909" y="1390514"/>
            <a:ext cx="10981679" cy="4925555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EDD7D8D-A766-48FD-9BCB-D1724D0B7CFF}"/>
              </a:ext>
            </a:extLst>
          </p:cNvPr>
          <p:cNvSpPr txBox="1">
            <a:spLocks/>
          </p:cNvSpPr>
          <p:nvPr/>
        </p:nvSpPr>
        <p:spPr>
          <a:xfrm>
            <a:off x="574141" y="684545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STEPS USED TO GENERATE THE DATA FRAME OF RECOMMENDATIONS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B8060F5-5E24-40D8-9C47-3BFF5DDBBB99}"/>
              </a:ext>
            </a:extLst>
          </p:cNvPr>
          <p:cNvSpPr/>
          <p:nvPr/>
        </p:nvSpPr>
        <p:spPr>
          <a:xfrm>
            <a:off x="659440" y="1509131"/>
            <a:ext cx="3487257" cy="1827332"/>
          </a:xfrm>
          <a:prstGeom prst="rect">
            <a:avLst/>
          </a:prstGeom>
          <a:noFill/>
          <a:ln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DAC489A-674C-4C39-BC9D-18209D2BC4BD}"/>
              </a:ext>
            </a:extLst>
          </p:cNvPr>
          <p:cNvSpPr/>
          <p:nvPr/>
        </p:nvSpPr>
        <p:spPr>
          <a:xfrm>
            <a:off x="719846" y="1559693"/>
            <a:ext cx="3345517" cy="2220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Imaginary User as inpu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56D9263-AAE6-4DF8-8A33-2A70360CBEE0}"/>
              </a:ext>
            </a:extLst>
          </p:cNvPr>
          <p:cNvSpPr/>
          <p:nvPr/>
        </p:nvSpPr>
        <p:spPr>
          <a:xfrm>
            <a:off x="4339416" y="1509131"/>
            <a:ext cx="3487257" cy="1877894"/>
          </a:xfrm>
          <a:prstGeom prst="rect">
            <a:avLst/>
          </a:prstGeom>
          <a:noFill/>
          <a:ln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C47F97D-155E-45D3-A545-D28EFBF80F8C}"/>
              </a:ext>
            </a:extLst>
          </p:cNvPr>
          <p:cNvSpPr/>
          <p:nvPr/>
        </p:nvSpPr>
        <p:spPr>
          <a:xfrm>
            <a:off x="4356372" y="1543043"/>
            <a:ext cx="3362882" cy="2577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Input data without ID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25B2A4C-C684-4A04-A5D4-D8F7DC79A991}"/>
              </a:ext>
            </a:extLst>
          </p:cNvPr>
          <p:cNvSpPr/>
          <p:nvPr/>
        </p:nvSpPr>
        <p:spPr>
          <a:xfrm>
            <a:off x="7959925" y="1509131"/>
            <a:ext cx="3487257" cy="1877894"/>
          </a:xfrm>
          <a:prstGeom prst="rect">
            <a:avLst/>
          </a:prstGeom>
          <a:noFill/>
          <a:ln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285D374-E93B-4107-8FFD-9B5E3F22EFE1}"/>
              </a:ext>
            </a:extLst>
          </p:cNvPr>
          <p:cNvSpPr/>
          <p:nvPr/>
        </p:nvSpPr>
        <p:spPr>
          <a:xfrm>
            <a:off x="8010761" y="1543043"/>
            <a:ext cx="3487257" cy="2577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.isin() used to find the ID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ED9581E-1C65-4F1A-8D9B-63A596EB1678}"/>
              </a:ext>
            </a:extLst>
          </p:cNvPr>
          <p:cNvSpPr txBox="1"/>
          <p:nvPr/>
        </p:nvSpPr>
        <p:spPr>
          <a:xfrm>
            <a:off x="582909" y="5701469"/>
            <a:ext cx="10990447" cy="637774"/>
          </a:xfrm>
          <a:prstGeom prst="rect">
            <a:avLst/>
          </a:prstGeom>
          <a:noFill/>
          <a:ln>
            <a:solidFill>
              <a:srgbClr val="00677F"/>
            </a:solidFill>
          </a:ln>
        </p:spPr>
        <p:txBody>
          <a:bodyPr wrap="square" lIns="71963" tIns="71963" rIns="71963" bIns="71963" rtlCol="0" anchor="t">
            <a:spAutoFit/>
          </a:bodyPr>
          <a:lstStyle/>
          <a:p>
            <a:pPr marL="796290" marR="0" lvl="0" indent="-34226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fter the sorted  grouped dataset is obtained, we can go ahead with the process of finding the similar users based on ratings given by people</a:t>
            </a:r>
          </a:p>
        </p:txBody>
      </p:sp>
      <p:sp>
        <p:nvSpPr>
          <p:cNvPr id="57" name="Pentagon 23">
            <a:extLst>
              <a:ext uri="{FF2B5EF4-FFF2-40B4-BE49-F238E27FC236}">
                <a16:creationId xmlns:a16="http://schemas.microsoft.com/office/drawing/2014/main" id="{9E344B9E-5D1A-4EAF-B914-481621CC12E2}"/>
              </a:ext>
            </a:extLst>
          </p:cNvPr>
          <p:cNvSpPr/>
          <p:nvPr/>
        </p:nvSpPr>
        <p:spPr>
          <a:xfrm>
            <a:off x="582909" y="5701469"/>
            <a:ext cx="675127" cy="554388"/>
          </a:xfrm>
          <a:prstGeom prst="homePlate">
            <a:avLst>
              <a:gd name="adj" fmla="val 51328"/>
            </a:avLst>
          </a:prstGeom>
          <a:ln>
            <a:solidFill>
              <a:srgbClr val="005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3" tIns="71963" rIns="71963" bIns="71963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r CS" pitchFamily="2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72EC01-EC82-4AB2-A14E-2166B80FD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929" y="1864400"/>
            <a:ext cx="3222278" cy="1444438"/>
          </a:xfrm>
          <a:prstGeom prst="rect">
            <a:avLst/>
          </a:prstGeom>
        </p:spPr>
      </p:pic>
      <p:sp>
        <p:nvSpPr>
          <p:cNvPr id="41" name="Hexagon 40">
            <a:extLst>
              <a:ext uri="{FF2B5EF4-FFF2-40B4-BE49-F238E27FC236}">
                <a16:creationId xmlns:a16="http://schemas.microsoft.com/office/drawing/2014/main" id="{42F4D49D-55D8-4593-A2DC-B6D76CF6315C}"/>
              </a:ext>
            </a:extLst>
          </p:cNvPr>
          <p:cNvSpPr/>
          <p:nvPr/>
        </p:nvSpPr>
        <p:spPr>
          <a:xfrm rot="5400000">
            <a:off x="4054787" y="1425820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51" name="Hexagon 50">
            <a:extLst>
              <a:ext uri="{FF2B5EF4-FFF2-40B4-BE49-F238E27FC236}">
                <a16:creationId xmlns:a16="http://schemas.microsoft.com/office/drawing/2014/main" id="{A09A7455-BD25-4BFE-8D4A-E77C4D2C97A2}"/>
              </a:ext>
            </a:extLst>
          </p:cNvPr>
          <p:cNvSpPr/>
          <p:nvPr/>
        </p:nvSpPr>
        <p:spPr>
          <a:xfrm rot="5400000">
            <a:off x="7696497" y="1425820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52" name="Hexagon 51">
            <a:extLst>
              <a:ext uri="{FF2B5EF4-FFF2-40B4-BE49-F238E27FC236}">
                <a16:creationId xmlns:a16="http://schemas.microsoft.com/office/drawing/2014/main" id="{5ED9F2F9-8C02-418A-8C41-5C825C636DF6}"/>
              </a:ext>
            </a:extLst>
          </p:cNvPr>
          <p:cNvSpPr/>
          <p:nvPr/>
        </p:nvSpPr>
        <p:spPr>
          <a:xfrm rot="5400000">
            <a:off x="11355272" y="1425820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1E35A5F-DC36-47C3-8369-7E66BBB1ED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60911" y="1823976"/>
            <a:ext cx="2132511" cy="1442581"/>
          </a:xfrm>
          <a:prstGeom prst="rect">
            <a:avLst/>
          </a:prstGeom>
        </p:spPr>
      </p:pic>
      <p:sp>
        <p:nvSpPr>
          <p:cNvPr id="14" name="Left Brace 13">
            <a:extLst>
              <a:ext uri="{FF2B5EF4-FFF2-40B4-BE49-F238E27FC236}">
                <a16:creationId xmlns:a16="http://schemas.microsoft.com/office/drawing/2014/main" id="{F94D1033-9C5A-4681-9A0F-4D4E3EEC93F7}"/>
              </a:ext>
            </a:extLst>
          </p:cNvPr>
          <p:cNvSpPr/>
          <p:nvPr/>
        </p:nvSpPr>
        <p:spPr>
          <a:xfrm>
            <a:off x="5303504" y="2063414"/>
            <a:ext cx="98569" cy="1057275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D51FB2-A00C-4289-B266-A71F7287DAAE}"/>
              </a:ext>
            </a:extLst>
          </p:cNvPr>
          <p:cNvSpPr/>
          <p:nvPr/>
        </p:nvSpPr>
        <p:spPr>
          <a:xfrm>
            <a:off x="4361197" y="2489750"/>
            <a:ext cx="824901" cy="2046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 ID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57B3928-24F9-4266-8B93-D11A8B0EDF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42647" y="1851324"/>
            <a:ext cx="3009549" cy="147059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2220A767-CB89-4FA6-932F-7468A10A6807}"/>
              </a:ext>
            </a:extLst>
          </p:cNvPr>
          <p:cNvSpPr/>
          <p:nvPr/>
        </p:nvSpPr>
        <p:spPr>
          <a:xfrm>
            <a:off x="8601075" y="1879891"/>
            <a:ext cx="609600" cy="1428947"/>
          </a:xfrm>
          <a:prstGeom prst="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236AC24-50AE-4D4A-9AB5-D3BF2C9A16FB}"/>
              </a:ext>
            </a:extLst>
          </p:cNvPr>
          <p:cNvSpPr/>
          <p:nvPr/>
        </p:nvSpPr>
        <p:spPr>
          <a:xfrm>
            <a:off x="673092" y="3499335"/>
            <a:ext cx="3487257" cy="2031572"/>
          </a:xfrm>
          <a:prstGeom prst="rect">
            <a:avLst/>
          </a:prstGeom>
          <a:noFill/>
          <a:ln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4F35C58-9E55-48FF-AFFE-157772C55331}"/>
              </a:ext>
            </a:extLst>
          </p:cNvPr>
          <p:cNvSpPr/>
          <p:nvPr/>
        </p:nvSpPr>
        <p:spPr>
          <a:xfrm>
            <a:off x="733499" y="3549897"/>
            <a:ext cx="3413198" cy="2323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Data with only “input” movie IDs along with user ID</a:t>
            </a:r>
          </a:p>
        </p:txBody>
      </p:sp>
      <p:sp>
        <p:nvSpPr>
          <p:cNvPr id="71" name="Hexagon 70">
            <a:extLst>
              <a:ext uri="{FF2B5EF4-FFF2-40B4-BE49-F238E27FC236}">
                <a16:creationId xmlns:a16="http://schemas.microsoft.com/office/drawing/2014/main" id="{45EE9FC7-CB60-4569-8E43-2F7B938BF722}"/>
              </a:ext>
            </a:extLst>
          </p:cNvPr>
          <p:cNvSpPr/>
          <p:nvPr/>
        </p:nvSpPr>
        <p:spPr>
          <a:xfrm rot="5400000">
            <a:off x="4068439" y="3416024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72" name="Hexagon 71">
            <a:extLst>
              <a:ext uri="{FF2B5EF4-FFF2-40B4-BE49-F238E27FC236}">
                <a16:creationId xmlns:a16="http://schemas.microsoft.com/office/drawing/2014/main" id="{A1C68B5F-8F0B-4305-9836-ED23E20084D9}"/>
              </a:ext>
            </a:extLst>
          </p:cNvPr>
          <p:cNvSpPr/>
          <p:nvPr/>
        </p:nvSpPr>
        <p:spPr>
          <a:xfrm rot="5400000">
            <a:off x="11365728" y="3474498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20AC424-D98F-4235-9601-9B21EE15CA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1954" y="3972747"/>
            <a:ext cx="2667000" cy="1143000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815AC818-E7BE-4979-A3A7-E9EEDB9162DD}"/>
              </a:ext>
            </a:extLst>
          </p:cNvPr>
          <p:cNvSpPr/>
          <p:nvPr/>
        </p:nvSpPr>
        <p:spPr>
          <a:xfrm>
            <a:off x="1409700" y="3948282"/>
            <a:ext cx="1533526" cy="1143001"/>
          </a:xfrm>
          <a:prstGeom prst="rect">
            <a:avLst/>
          </a:prstGeom>
          <a:noFill/>
          <a:ln w="28575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A236119-523F-4323-AFD6-34304AEE4FE1}"/>
              </a:ext>
            </a:extLst>
          </p:cNvPr>
          <p:cNvSpPr/>
          <p:nvPr/>
        </p:nvSpPr>
        <p:spPr>
          <a:xfrm>
            <a:off x="848272" y="5212411"/>
            <a:ext cx="3003021" cy="1925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We also have user’s respective rating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7076CF2-A5BD-4A3B-8A01-73FE375152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5562" y="3972747"/>
            <a:ext cx="3086100" cy="136207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6B1B326-25DF-4B0F-B94F-BAFD58E89D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01640" y="4037690"/>
            <a:ext cx="2876550" cy="13335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DAD0669A-11DD-4E2F-B8A3-940949292B64}"/>
              </a:ext>
            </a:extLst>
          </p:cNvPr>
          <p:cNvSpPr txBox="1"/>
          <p:nvPr/>
        </p:nvSpPr>
        <p:spPr>
          <a:xfrm>
            <a:off x="10430234" y="5053591"/>
            <a:ext cx="5774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0B685C1-4AB0-4F2A-A352-EA82BAFCFE39}"/>
              </a:ext>
            </a:extLst>
          </p:cNvPr>
          <p:cNvSpPr/>
          <p:nvPr/>
        </p:nvSpPr>
        <p:spPr>
          <a:xfrm>
            <a:off x="10191842" y="4287333"/>
            <a:ext cx="1012625" cy="9250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Sorted based on no. of same movies watched  </a:t>
            </a:r>
          </a:p>
        </p:txBody>
      </p:sp>
      <p:sp>
        <p:nvSpPr>
          <p:cNvPr id="89" name="Flowchart: Extract 88">
            <a:extLst>
              <a:ext uri="{FF2B5EF4-FFF2-40B4-BE49-F238E27FC236}">
                <a16:creationId xmlns:a16="http://schemas.microsoft.com/office/drawing/2014/main" id="{020B14C5-7C1E-40F3-BFDC-5D8EB698D3E9}"/>
              </a:ext>
            </a:extLst>
          </p:cNvPr>
          <p:cNvSpPr/>
          <p:nvPr/>
        </p:nvSpPr>
        <p:spPr>
          <a:xfrm rot="5400000">
            <a:off x="10827005" y="4687303"/>
            <a:ext cx="940142" cy="150105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37" name="Footer Placeholder 5">
            <a:extLst>
              <a:ext uri="{FF2B5EF4-FFF2-40B4-BE49-F238E27FC236}">
                <a16:creationId xmlns:a16="http://schemas.microsoft.com/office/drawing/2014/main" id="{74C7664E-A29E-4ECD-A67A-52A1D11DCF18}"/>
              </a:ext>
            </a:extLst>
          </p:cNvPr>
          <p:cNvSpPr txBox="1">
            <a:spLocks/>
          </p:cNvSpPr>
          <p:nvPr/>
        </p:nvSpPr>
        <p:spPr>
          <a:xfrm>
            <a:off x="-344983" y="6463879"/>
            <a:ext cx="12192000" cy="21600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													RIT | MS Data Science | Fall 2021 | DSCI 633 | Final Projec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9EB4056-E6EC-47CF-8FD8-FFF8E906C608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33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7A2E324-F506-4E91-9389-2C27241928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80255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2">
            <a:extLst>
              <a:ext uri="{FF2B5EF4-FFF2-40B4-BE49-F238E27FC236}">
                <a16:creationId xmlns:a16="http://schemas.microsoft.com/office/drawing/2014/main" id="{F2D42B69-3937-4F7D-8DF2-008FDA9CF11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4141" y="1396243"/>
            <a:ext cx="10981679" cy="4848793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EDD7D8D-A766-48FD-9BCB-D1724D0B7CFF}"/>
              </a:ext>
            </a:extLst>
          </p:cNvPr>
          <p:cNvSpPr txBox="1">
            <a:spLocks/>
          </p:cNvSpPr>
          <p:nvPr/>
        </p:nvSpPr>
        <p:spPr>
          <a:xfrm>
            <a:off x="574141" y="684545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imler"/>
              <a:ea typeface="+mj-ea"/>
              <a:cs typeface="Arial"/>
              <a:sym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B8060F5-5E24-40D8-9C47-3BFF5DDBBB99}"/>
              </a:ext>
            </a:extLst>
          </p:cNvPr>
          <p:cNvSpPr/>
          <p:nvPr/>
        </p:nvSpPr>
        <p:spPr>
          <a:xfrm>
            <a:off x="636180" y="1488477"/>
            <a:ext cx="6298020" cy="4664324"/>
          </a:xfrm>
          <a:prstGeom prst="rect">
            <a:avLst/>
          </a:prstGeom>
          <a:noFill/>
          <a:ln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DAC489A-674C-4C39-BC9D-18209D2BC4BD}"/>
              </a:ext>
            </a:extLst>
          </p:cNvPr>
          <p:cNvSpPr/>
          <p:nvPr/>
        </p:nvSpPr>
        <p:spPr>
          <a:xfrm>
            <a:off x="719846" y="1559693"/>
            <a:ext cx="6214354" cy="2383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Code block that computes the Pearson Correlation values</a:t>
            </a:r>
          </a:p>
        </p:txBody>
      </p:sp>
      <p:sp>
        <p:nvSpPr>
          <p:cNvPr id="41" name="Hexagon 40">
            <a:extLst>
              <a:ext uri="{FF2B5EF4-FFF2-40B4-BE49-F238E27FC236}">
                <a16:creationId xmlns:a16="http://schemas.microsoft.com/office/drawing/2014/main" id="{42F4D49D-55D8-4593-A2DC-B6D76CF6315C}"/>
              </a:ext>
            </a:extLst>
          </p:cNvPr>
          <p:cNvSpPr/>
          <p:nvPr/>
        </p:nvSpPr>
        <p:spPr>
          <a:xfrm rot="5400000">
            <a:off x="6738536" y="1441285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B4E8CD-6F4B-46EF-AB4A-C75A5C6263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580" y="1890272"/>
            <a:ext cx="6019220" cy="4177153"/>
          </a:xfrm>
          <a:prstGeom prst="rect">
            <a:avLst/>
          </a:prstGeom>
        </p:spPr>
      </p:pic>
      <p:sp>
        <p:nvSpPr>
          <p:cNvPr id="5" name="Right Brace 4">
            <a:extLst>
              <a:ext uri="{FF2B5EF4-FFF2-40B4-BE49-F238E27FC236}">
                <a16:creationId xmlns:a16="http://schemas.microsoft.com/office/drawing/2014/main" id="{F423EE63-04BC-4FBC-BDB2-6DD51F0F40C7}"/>
              </a:ext>
            </a:extLst>
          </p:cNvPr>
          <p:cNvSpPr/>
          <p:nvPr/>
        </p:nvSpPr>
        <p:spPr>
          <a:xfrm>
            <a:off x="7162800" y="1798038"/>
            <a:ext cx="552450" cy="1830987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Right Brace 39">
            <a:extLst>
              <a:ext uri="{FF2B5EF4-FFF2-40B4-BE49-F238E27FC236}">
                <a16:creationId xmlns:a16="http://schemas.microsoft.com/office/drawing/2014/main" id="{18C8AF28-DEB7-45C2-8CA2-A354917928D3}"/>
              </a:ext>
            </a:extLst>
          </p:cNvPr>
          <p:cNvSpPr/>
          <p:nvPr/>
        </p:nvSpPr>
        <p:spPr>
          <a:xfrm>
            <a:off x="7162800" y="4161983"/>
            <a:ext cx="552450" cy="1830987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5763EA6-952E-4B39-AC30-B887491AD0C3}"/>
              </a:ext>
            </a:extLst>
          </p:cNvPr>
          <p:cNvSpPr/>
          <p:nvPr/>
        </p:nvSpPr>
        <p:spPr>
          <a:xfrm>
            <a:off x="7943850" y="1844696"/>
            <a:ext cx="3299823" cy="17376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ouping the ratings since that is our primary factor/input for the Pearson Correlation formula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A7B80C8-B239-4A84-AB89-2645FCD3E79E}"/>
              </a:ext>
            </a:extLst>
          </p:cNvPr>
          <p:cNvSpPr/>
          <p:nvPr/>
        </p:nvSpPr>
        <p:spPr>
          <a:xfrm>
            <a:off x="7985623" y="4208641"/>
            <a:ext cx="3299823" cy="17376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6290" marR="0" lvl="0" indent="-34226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C values are computed and stored inside dict. declared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Pentagon 23">
            <a:extLst>
              <a:ext uri="{FF2B5EF4-FFF2-40B4-BE49-F238E27FC236}">
                <a16:creationId xmlns:a16="http://schemas.microsoft.com/office/drawing/2014/main" id="{226FE693-B09F-40C8-A2CD-FB2671530989}"/>
              </a:ext>
            </a:extLst>
          </p:cNvPr>
          <p:cNvSpPr/>
          <p:nvPr/>
        </p:nvSpPr>
        <p:spPr>
          <a:xfrm>
            <a:off x="7985623" y="5419402"/>
            <a:ext cx="444003" cy="522548"/>
          </a:xfrm>
          <a:prstGeom prst="homePlate">
            <a:avLst/>
          </a:prstGeom>
          <a:ln>
            <a:solidFill>
              <a:srgbClr val="005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3" tIns="71963" rIns="71963" bIns="71963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r CS" pitchFamily="2" charset="0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44362A6-B207-459E-95B2-0B631AC3186B}"/>
              </a:ext>
            </a:extLst>
          </p:cNvPr>
          <p:cNvSpPr txBox="1"/>
          <p:nvPr/>
        </p:nvSpPr>
        <p:spPr>
          <a:xfrm>
            <a:off x="7985623" y="5419402"/>
            <a:ext cx="3299823" cy="576219"/>
          </a:xfrm>
          <a:prstGeom prst="rect">
            <a:avLst/>
          </a:prstGeom>
          <a:noFill/>
          <a:ln>
            <a:solidFill>
              <a:srgbClr val="00677F"/>
            </a:solidFill>
          </a:ln>
        </p:spPr>
        <p:txBody>
          <a:bodyPr wrap="square" lIns="71963" tIns="71963" rIns="71963" bIns="71963" rtlCol="0" anchor="t">
            <a:spAutoFit/>
          </a:bodyPr>
          <a:lstStyle/>
          <a:p>
            <a:pPr marL="796290" marR="0" lvl="0" indent="-34226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C values are computed and stored inside dict. declared</a:t>
            </a:r>
          </a:p>
        </p:txBody>
      </p:sp>
      <p:sp>
        <p:nvSpPr>
          <p:cNvPr id="58" name="Flowchart: Extract 57">
            <a:extLst>
              <a:ext uri="{FF2B5EF4-FFF2-40B4-BE49-F238E27FC236}">
                <a16:creationId xmlns:a16="http://schemas.microsoft.com/office/drawing/2014/main" id="{FD5EFCC1-CD0E-4DCB-B52F-93BC03D2834A}"/>
              </a:ext>
            </a:extLst>
          </p:cNvPr>
          <p:cNvSpPr/>
          <p:nvPr/>
        </p:nvSpPr>
        <p:spPr>
          <a:xfrm rot="10800000">
            <a:off x="10911893" y="4902364"/>
            <a:ext cx="152748" cy="99440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78A0FD-1653-4FF3-8B3F-956D07534754}"/>
              </a:ext>
            </a:extLst>
          </p:cNvPr>
          <p:cNvSpPr/>
          <p:nvPr/>
        </p:nvSpPr>
        <p:spPr>
          <a:xfrm>
            <a:off x="7943850" y="1856289"/>
            <a:ext cx="788263" cy="21270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Part 1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69FFCB2-954D-466E-99EB-0F45FCFCF489}"/>
              </a:ext>
            </a:extLst>
          </p:cNvPr>
          <p:cNvSpPr/>
          <p:nvPr/>
        </p:nvSpPr>
        <p:spPr>
          <a:xfrm>
            <a:off x="7987393" y="4224838"/>
            <a:ext cx="788263" cy="21270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Part 2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4A2FCF0-885B-4D13-8613-FB918FC3267B}"/>
              </a:ext>
            </a:extLst>
          </p:cNvPr>
          <p:cNvSpPr txBox="1">
            <a:spLocks/>
          </p:cNvSpPr>
          <p:nvPr/>
        </p:nvSpPr>
        <p:spPr>
          <a:xfrm>
            <a:off x="574141" y="678263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Daimler"/>
                <a:ea typeface="+mj-ea"/>
                <a:cs typeface="Arial"/>
                <a:sym typeface="Arial"/>
              </a:rPr>
              <a:t>IMPLEMENTED PEARSON CORRELATION FROM SCRATCH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5BDD4F4-A1D2-495F-AE1E-80D9442CA6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0102" y="5123749"/>
            <a:ext cx="2752725" cy="20955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DD948744-4D15-4016-96FD-EF455220E8A7}"/>
              </a:ext>
            </a:extLst>
          </p:cNvPr>
          <p:cNvSpPr/>
          <p:nvPr/>
        </p:nvSpPr>
        <p:spPr>
          <a:xfrm>
            <a:off x="8429626" y="5126809"/>
            <a:ext cx="2752725" cy="206490"/>
          </a:xfrm>
          <a:prstGeom prst="rect">
            <a:avLst/>
          </a:prstGeom>
          <a:noFill/>
          <a:ln w="28575"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Footer Placeholder 5">
            <a:extLst>
              <a:ext uri="{FF2B5EF4-FFF2-40B4-BE49-F238E27FC236}">
                <a16:creationId xmlns:a16="http://schemas.microsoft.com/office/drawing/2014/main" id="{95E52C74-0E78-4F79-93B1-190A09EEC09E}"/>
              </a:ext>
            </a:extLst>
          </p:cNvPr>
          <p:cNvSpPr txBox="1">
            <a:spLocks/>
          </p:cNvSpPr>
          <p:nvPr/>
        </p:nvSpPr>
        <p:spPr>
          <a:xfrm>
            <a:off x="-344983" y="6463879"/>
            <a:ext cx="12192000" cy="21600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													RIT | MS Data Science | Fall 2021 | DSCI 633 | Final Projec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D502E3-35FF-42C8-9062-0EDEB5045277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34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FBB3AAA2-0B9A-4ACB-815D-C31586E0B6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7793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ooter Placeholder 5">
            <a:extLst>
              <a:ext uri="{FF2B5EF4-FFF2-40B4-BE49-F238E27FC236}">
                <a16:creationId xmlns:a16="http://schemas.microsoft.com/office/drawing/2014/main" id="{F5AA5F9A-373E-4B7C-A38A-B8F2E2502D7C}"/>
              </a:ext>
            </a:extLst>
          </p:cNvPr>
          <p:cNvSpPr txBox="1">
            <a:spLocks/>
          </p:cNvSpPr>
          <p:nvPr/>
        </p:nvSpPr>
        <p:spPr>
          <a:xfrm>
            <a:off x="-534721" y="6448893"/>
            <a:ext cx="12192000" cy="216000"/>
          </a:xfrm>
          <a:prstGeom prst="rect">
            <a:avLst/>
          </a:prstGeom>
        </p:spPr>
        <p:txBody>
          <a:bodyPr lIns="91440" tIns="45720" rIns="91440" bIns="45720" anchor="t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RIT | MS Data Science | Fall 2021 | DSCI 633 | Final Projec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6C1ABE8-DA04-4D51-92C5-37607440D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796" y="3758684"/>
            <a:ext cx="4560347" cy="2492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earson Correlation Coefficient: Formula, Example &amp; Significance - Video &amp;  Lesson Transcript | Study.com">
            <a:extLst>
              <a:ext uri="{FF2B5EF4-FFF2-40B4-BE49-F238E27FC236}">
                <a16:creationId xmlns:a16="http://schemas.microsoft.com/office/drawing/2014/main" id="{A1B1EB6F-C42A-4CD1-B61E-CB76A89B84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0" y="1479246"/>
            <a:ext cx="3658838" cy="1972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Flowchart: Extract 27">
            <a:extLst>
              <a:ext uri="{FF2B5EF4-FFF2-40B4-BE49-F238E27FC236}">
                <a16:creationId xmlns:a16="http://schemas.microsoft.com/office/drawing/2014/main" id="{285B2B36-FD27-4B5D-8F0F-20AA0624498B}"/>
              </a:ext>
            </a:extLst>
          </p:cNvPr>
          <p:cNvSpPr/>
          <p:nvPr/>
        </p:nvSpPr>
        <p:spPr>
          <a:xfrm rot="5400000">
            <a:off x="4512278" y="4669200"/>
            <a:ext cx="2725992" cy="320296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2">
            <a:extLst>
              <a:ext uri="{FF2B5EF4-FFF2-40B4-BE49-F238E27FC236}">
                <a16:creationId xmlns:a16="http://schemas.microsoft.com/office/drawing/2014/main" id="{F2D42B69-3937-4F7D-8DF2-008FDA9CF11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2909" y="1428895"/>
            <a:ext cx="10981679" cy="4848793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EEE1EF4-6CF4-4085-AF9E-3D40BBCEF900}"/>
              </a:ext>
            </a:extLst>
          </p:cNvPr>
          <p:cNvSpPr/>
          <p:nvPr/>
        </p:nvSpPr>
        <p:spPr>
          <a:xfrm>
            <a:off x="582909" y="1428751"/>
            <a:ext cx="1408113" cy="1925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ason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AF3E639-6304-48F1-A459-BA5FCBDFDB32}"/>
              </a:ext>
            </a:extLst>
          </p:cNvPr>
          <p:cNvCxnSpPr/>
          <p:nvPr/>
        </p:nvCxnSpPr>
        <p:spPr bwMode="auto">
          <a:xfrm>
            <a:off x="582909" y="3416032"/>
            <a:ext cx="10981679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0BC5461B-ABF0-4EBC-8A2F-41BFD005464C}"/>
              </a:ext>
            </a:extLst>
          </p:cNvPr>
          <p:cNvSpPr/>
          <p:nvPr/>
        </p:nvSpPr>
        <p:spPr>
          <a:xfrm>
            <a:off x="6393159" y="1436021"/>
            <a:ext cx="1408113" cy="1925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rmula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E20327F-4A40-49B9-B793-0ABDB3EB3138}"/>
              </a:ext>
            </a:extLst>
          </p:cNvPr>
          <p:cNvSpPr/>
          <p:nvPr/>
        </p:nvSpPr>
        <p:spPr>
          <a:xfrm>
            <a:off x="6393158" y="3411270"/>
            <a:ext cx="1408113" cy="1925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milarity scores</a:t>
            </a:r>
          </a:p>
        </p:txBody>
      </p:sp>
      <p:sp>
        <p:nvSpPr>
          <p:cNvPr id="42" name="Flowchart: Extract 41">
            <a:extLst>
              <a:ext uri="{FF2B5EF4-FFF2-40B4-BE49-F238E27FC236}">
                <a16:creationId xmlns:a16="http://schemas.microsoft.com/office/drawing/2014/main" id="{67090C07-54EE-44D1-9430-39E02F9EF8F8}"/>
              </a:ext>
            </a:extLst>
          </p:cNvPr>
          <p:cNvSpPr/>
          <p:nvPr/>
        </p:nvSpPr>
        <p:spPr>
          <a:xfrm rot="5400000">
            <a:off x="4887378" y="2274089"/>
            <a:ext cx="1963595" cy="320296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F1BAD06-FECC-40E0-805E-9559D67EF437}"/>
              </a:ext>
            </a:extLst>
          </p:cNvPr>
          <p:cNvSpPr/>
          <p:nvPr/>
        </p:nvSpPr>
        <p:spPr>
          <a:xfrm>
            <a:off x="582909" y="3420383"/>
            <a:ext cx="1408113" cy="1925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ssibiliti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A5EB23A-221A-4C93-90D1-A4673A1D10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29324" y="3675530"/>
            <a:ext cx="5467351" cy="48577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5866DA0B-3983-4CFE-8B27-DCE97190DA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32045" y="4286581"/>
            <a:ext cx="2182021" cy="1833750"/>
          </a:xfrm>
          <a:prstGeom prst="rect">
            <a:avLst/>
          </a:prstGeom>
        </p:spPr>
      </p:pic>
      <p:sp>
        <p:nvSpPr>
          <p:cNvPr id="47" name="Flowchart: Extract 46">
            <a:extLst>
              <a:ext uri="{FF2B5EF4-FFF2-40B4-BE49-F238E27FC236}">
                <a16:creationId xmlns:a16="http://schemas.microsoft.com/office/drawing/2014/main" id="{40248185-1EFE-493D-A41B-51491FF8385A}"/>
              </a:ext>
            </a:extLst>
          </p:cNvPr>
          <p:cNvSpPr/>
          <p:nvPr/>
        </p:nvSpPr>
        <p:spPr>
          <a:xfrm rot="5400000">
            <a:off x="8167581" y="5112557"/>
            <a:ext cx="1644996" cy="182888"/>
          </a:xfrm>
          <a:prstGeom prst="flowChartExtra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84C68CBD-030D-4239-AC92-D6E74C2C15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9713" y="4731009"/>
            <a:ext cx="2371404" cy="1295489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521AFB6D-475C-4498-B3AD-D0CD04A495DD}"/>
              </a:ext>
            </a:extLst>
          </p:cNvPr>
          <p:cNvSpPr/>
          <p:nvPr/>
        </p:nvSpPr>
        <p:spPr>
          <a:xfrm>
            <a:off x="6349713" y="4381500"/>
            <a:ext cx="2371404" cy="266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ctionary of scores - unsorted</a:t>
            </a:r>
          </a:p>
        </p:txBody>
      </p:sp>
      <p:sp>
        <p:nvSpPr>
          <p:cNvPr id="51" name="Hexagon 50">
            <a:extLst>
              <a:ext uri="{FF2B5EF4-FFF2-40B4-BE49-F238E27FC236}">
                <a16:creationId xmlns:a16="http://schemas.microsoft.com/office/drawing/2014/main" id="{FC7495D1-A0A0-408C-8AA8-54DF2D2B428E}"/>
              </a:ext>
            </a:extLst>
          </p:cNvPr>
          <p:cNvSpPr/>
          <p:nvPr/>
        </p:nvSpPr>
        <p:spPr>
          <a:xfrm rot="5400000">
            <a:off x="1884901" y="1366787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52" name="Hexagon 51">
            <a:extLst>
              <a:ext uri="{FF2B5EF4-FFF2-40B4-BE49-F238E27FC236}">
                <a16:creationId xmlns:a16="http://schemas.microsoft.com/office/drawing/2014/main" id="{D6C1FF3D-2CF9-4370-A1E4-BEE7B88743B6}"/>
              </a:ext>
            </a:extLst>
          </p:cNvPr>
          <p:cNvSpPr/>
          <p:nvPr/>
        </p:nvSpPr>
        <p:spPr>
          <a:xfrm rot="5400000">
            <a:off x="7697468" y="1382075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2</a:t>
            </a:r>
          </a:p>
        </p:txBody>
      </p:sp>
      <p:sp>
        <p:nvSpPr>
          <p:cNvPr id="53" name="Hexagon 52">
            <a:extLst>
              <a:ext uri="{FF2B5EF4-FFF2-40B4-BE49-F238E27FC236}">
                <a16:creationId xmlns:a16="http://schemas.microsoft.com/office/drawing/2014/main" id="{EB4E7197-7ED8-43CA-997E-54681E68FD67}"/>
              </a:ext>
            </a:extLst>
          </p:cNvPr>
          <p:cNvSpPr/>
          <p:nvPr/>
        </p:nvSpPr>
        <p:spPr>
          <a:xfrm rot="5400000">
            <a:off x="1889664" y="3369727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3</a:t>
            </a:r>
          </a:p>
        </p:txBody>
      </p:sp>
      <p:sp>
        <p:nvSpPr>
          <p:cNvPr id="54" name="Hexagon 53">
            <a:extLst>
              <a:ext uri="{FF2B5EF4-FFF2-40B4-BE49-F238E27FC236}">
                <a16:creationId xmlns:a16="http://schemas.microsoft.com/office/drawing/2014/main" id="{74F3FABC-7F3B-468D-B25E-188F7D01F173}"/>
              </a:ext>
            </a:extLst>
          </p:cNvPr>
          <p:cNvSpPr/>
          <p:nvPr/>
        </p:nvSpPr>
        <p:spPr>
          <a:xfrm rot="5400000">
            <a:off x="7690389" y="3369727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4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6AA8EAB-1A16-4AA4-8CE9-CF61706ACECA}"/>
              </a:ext>
            </a:extLst>
          </p:cNvPr>
          <p:cNvSpPr txBox="1">
            <a:spLocks/>
          </p:cNvSpPr>
          <p:nvPr/>
        </p:nvSpPr>
        <p:spPr>
          <a:xfrm>
            <a:off x="574141" y="684545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AGAIN, PC PROVIDES A SAFE WAY TO TAKE A DISTANCE MATRIX AS INPU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1AEB003-63FF-4520-816B-1AE4D80659CD}"/>
              </a:ext>
            </a:extLst>
          </p:cNvPr>
          <p:cNvSpPr txBox="1"/>
          <p:nvPr/>
        </p:nvSpPr>
        <p:spPr>
          <a:xfrm>
            <a:off x="371856" y="6419088"/>
            <a:ext cx="295656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lt"/>
                <a:cs typeface="Arial" panose="020B0604020202020204"/>
              </a:rPr>
              <a:t>PC* - Pearson correlation coefficient 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F2F29A9-E61B-43F8-ACF9-E04132393060}"/>
              </a:ext>
            </a:extLst>
          </p:cNvPr>
          <p:cNvSpPr/>
          <p:nvPr/>
        </p:nvSpPr>
        <p:spPr>
          <a:xfrm>
            <a:off x="6095999" y="3675530"/>
            <a:ext cx="5467351" cy="2516813"/>
          </a:xfrm>
          <a:prstGeom prst="rect">
            <a:avLst/>
          </a:prstGeom>
          <a:noFill/>
          <a:ln w="38100">
            <a:solidFill>
              <a:srgbClr val="D95E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F4A8A3-992A-43F3-8E2B-3306245D6051}"/>
              </a:ext>
            </a:extLst>
          </p:cNvPr>
          <p:cNvSpPr/>
          <p:nvPr/>
        </p:nvSpPr>
        <p:spPr>
          <a:xfrm>
            <a:off x="1286964" y="1790870"/>
            <a:ext cx="3912833" cy="139674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marR="0" lvl="0" indent="-171450" algn="l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is finds the similarity between pairs of users</a:t>
            </a:r>
          </a:p>
          <a:p>
            <a:pPr marL="171450" marR="0" lvl="0" indent="-171450" algn="l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eighted average of ratings are calculated and multiplied with the similarity so that it gets influences the rating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B13D485-369C-40AA-8A1E-63817E298AF4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35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0EAF5502-FA3F-4F46-BC5A-F64836ACF1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981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id="{A94F088E-9EC0-4ECB-BF55-144CBAA30E39}"/>
              </a:ext>
            </a:extLst>
          </p:cNvPr>
          <p:cNvSpPr/>
          <p:nvPr/>
        </p:nvSpPr>
        <p:spPr>
          <a:xfrm>
            <a:off x="710277" y="3410936"/>
            <a:ext cx="506631" cy="53979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2">
            <a:extLst>
              <a:ext uri="{FF2B5EF4-FFF2-40B4-BE49-F238E27FC236}">
                <a16:creationId xmlns:a16="http://schemas.microsoft.com/office/drawing/2014/main" id="{F2D42B69-3937-4F7D-8DF2-008FDA9CF11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2909" y="1428895"/>
            <a:ext cx="10981679" cy="4848793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EDD7D8D-A766-48FD-9BCB-D1724D0B7CFF}"/>
              </a:ext>
            </a:extLst>
          </p:cNvPr>
          <p:cNvSpPr txBox="1">
            <a:spLocks/>
          </p:cNvSpPr>
          <p:nvPr/>
        </p:nvSpPr>
        <p:spPr>
          <a:xfrm>
            <a:off x="583503" y="586916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800"/>
              </a:spcBef>
              <a:buFont typeface="Arial"/>
              <a:buNone/>
              <a:defRPr sz="3200" b="0">
                <a:latin typeface="Daimler"/>
                <a:ea typeface="+mj-ea"/>
                <a:cs typeface="+mj-cs"/>
              </a:defRPr>
            </a:lvl1pPr>
            <a:lvl2pPr marL="990575" indent="-380990">
              <a:spcBef>
                <a:spcPct val="20000"/>
              </a:spcBef>
              <a:buFont typeface="Arial"/>
              <a:buChar char="–"/>
              <a:defRPr sz="3733"/>
            </a:lvl2pPr>
            <a:lvl3pPr marL="1523962" indent="-304792">
              <a:spcBef>
                <a:spcPct val="20000"/>
              </a:spcBef>
              <a:buFont typeface="Arial"/>
              <a:buChar char="•"/>
              <a:defRPr sz="3200"/>
            </a:lvl3pPr>
            <a:lvl4pPr marL="2133547" indent="-304792">
              <a:spcBef>
                <a:spcPct val="20000"/>
              </a:spcBef>
              <a:buFont typeface="Arial"/>
              <a:buChar char="–"/>
              <a:defRPr sz="2667"/>
            </a:lvl4pPr>
            <a:lvl5pPr marL="2743131" indent="-304792">
              <a:spcBef>
                <a:spcPct val="20000"/>
              </a:spcBef>
              <a:buFont typeface="Arial"/>
              <a:buChar char="»"/>
              <a:defRPr sz="2667"/>
            </a:lvl5pPr>
            <a:lvl6pPr marL="3352716" indent="-304792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ED VALIDATION TO CHECK PERFORMANCE OF THIS USER COLLABORATIVE FILTERING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CE2AF22-8E36-4AE7-8CFE-560C6C6E8CFF}"/>
              </a:ext>
            </a:extLst>
          </p:cNvPr>
          <p:cNvGrpSpPr/>
          <p:nvPr/>
        </p:nvGrpSpPr>
        <p:grpSpPr>
          <a:xfrm>
            <a:off x="659440" y="1509131"/>
            <a:ext cx="3487257" cy="1680636"/>
            <a:chOff x="659440" y="1509131"/>
            <a:chExt cx="3487257" cy="168063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8B8060F5-5E24-40D8-9C47-3BFF5DDBBB99}"/>
                </a:ext>
              </a:extLst>
            </p:cNvPr>
            <p:cNvSpPr/>
            <p:nvPr/>
          </p:nvSpPr>
          <p:spPr>
            <a:xfrm>
              <a:off x="659440" y="1509131"/>
              <a:ext cx="3487257" cy="1680636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909BB45-169A-4403-B827-B952AB3174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8520" y="1934105"/>
              <a:ext cx="3341601" cy="1158333"/>
            </a:xfrm>
            <a:prstGeom prst="rect">
              <a:avLst/>
            </a:prstGeom>
          </p:spPr>
        </p:pic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DAC489A-674C-4C39-BC9D-18209D2BC4BD}"/>
                </a:ext>
              </a:extLst>
            </p:cNvPr>
            <p:cNvSpPr/>
            <p:nvPr/>
          </p:nvSpPr>
          <p:spPr>
            <a:xfrm>
              <a:off x="710277" y="1588268"/>
              <a:ext cx="2371404" cy="2485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Weighted ratings are added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400C7EC-FD5B-43A8-8DC8-DBF17E721232}"/>
              </a:ext>
            </a:extLst>
          </p:cNvPr>
          <p:cNvGrpSpPr/>
          <p:nvPr/>
        </p:nvGrpSpPr>
        <p:grpSpPr>
          <a:xfrm>
            <a:off x="4305535" y="1509131"/>
            <a:ext cx="3487257" cy="1680636"/>
            <a:chOff x="4266976" y="1504347"/>
            <a:chExt cx="3487257" cy="1680636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56D9263-AAE6-4DF8-8A33-2A70360CBEE0}"/>
                </a:ext>
              </a:extLst>
            </p:cNvPr>
            <p:cNvSpPr/>
            <p:nvPr/>
          </p:nvSpPr>
          <p:spPr>
            <a:xfrm>
              <a:off x="4266976" y="1504347"/>
              <a:ext cx="3487257" cy="1680636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C47F97D-155E-45D3-A545-D28EFBF80F8C}"/>
                </a:ext>
              </a:extLst>
            </p:cNvPr>
            <p:cNvSpPr/>
            <p:nvPr/>
          </p:nvSpPr>
          <p:spPr>
            <a:xfrm>
              <a:off x="4317813" y="1583484"/>
              <a:ext cx="2371404" cy="20460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Sum of similarity scores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B98818FA-EE9F-42FB-9959-268E0704F15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79003" y="1941744"/>
              <a:ext cx="3263201" cy="1164984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0FADDDE-F5DA-4820-B19F-EA68D12C59BB}"/>
              </a:ext>
            </a:extLst>
          </p:cNvPr>
          <p:cNvGrpSpPr/>
          <p:nvPr/>
        </p:nvGrpSpPr>
        <p:grpSpPr>
          <a:xfrm>
            <a:off x="7959925" y="1509131"/>
            <a:ext cx="3487257" cy="1728996"/>
            <a:chOff x="7865016" y="1496463"/>
            <a:chExt cx="3487257" cy="1728996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EEE4EB23-CE69-43BB-B263-FC33896F71B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15853" y="1788086"/>
              <a:ext cx="3257095" cy="1437373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25B2A4C-C684-4A04-A5D4-D8F7DC79A991}"/>
                </a:ext>
              </a:extLst>
            </p:cNvPr>
            <p:cNvSpPr/>
            <p:nvPr/>
          </p:nvSpPr>
          <p:spPr>
            <a:xfrm>
              <a:off x="7865016" y="1496463"/>
              <a:ext cx="3487257" cy="1680636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285D374-E93B-4107-8FFD-9B5E3F22EFE1}"/>
                </a:ext>
              </a:extLst>
            </p:cNvPr>
            <p:cNvSpPr/>
            <p:nvPr/>
          </p:nvSpPr>
          <p:spPr>
            <a:xfrm>
              <a:off x="7915853" y="1575600"/>
              <a:ext cx="2163812" cy="2124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Score with weighted average</a:t>
              </a:r>
            </a:p>
          </p:txBody>
        </p:sp>
      </p:grpSp>
      <p:sp>
        <p:nvSpPr>
          <p:cNvPr id="50" name="Flowchart: Extract 49">
            <a:extLst>
              <a:ext uri="{FF2B5EF4-FFF2-40B4-BE49-F238E27FC236}">
                <a16:creationId xmlns:a16="http://schemas.microsoft.com/office/drawing/2014/main" id="{2511187E-8A47-47D5-A53C-03AE8CDB0FF3}"/>
              </a:ext>
            </a:extLst>
          </p:cNvPr>
          <p:cNvSpPr/>
          <p:nvPr/>
        </p:nvSpPr>
        <p:spPr>
          <a:xfrm rot="10800000">
            <a:off x="710275" y="3301222"/>
            <a:ext cx="10736905" cy="189693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BB3AA53-8FBB-4123-AE55-DAFD76791AA3}"/>
              </a:ext>
            </a:extLst>
          </p:cNvPr>
          <p:cNvGrpSpPr/>
          <p:nvPr/>
        </p:nvGrpSpPr>
        <p:grpSpPr>
          <a:xfrm>
            <a:off x="4203374" y="3571446"/>
            <a:ext cx="3666786" cy="1636544"/>
            <a:chOff x="4293139" y="3571446"/>
            <a:chExt cx="3666786" cy="153900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07EA222E-18FC-4EEB-9496-C0F805969BF8}"/>
                </a:ext>
              </a:extLst>
            </p:cNvPr>
            <p:cNvSpPr/>
            <p:nvPr/>
          </p:nvSpPr>
          <p:spPr>
            <a:xfrm>
              <a:off x="4293139" y="3571446"/>
              <a:ext cx="3666786" cy="1539008"/>
            </a:xfrm>
            <a:prstGeom prst="rect">
              <a:avLst/>
            </a:prstGeom>
            <a:noFill/>
            <a:ln w="12700">
              <a:solidFill>
                <a:srgbClr val="D95E00"/>
              </a:solidFill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42B20A3-772E-4CBE-80DF-0BCA68A6E336}"/>
                </a:ext>
              </a:extLst>
            </p:cNvPr>
            <p:cNvSpPr/>
            <p:nvPr/>
          </p:nvSpPr>
          <p:spPr>
            <a:xfrm>
              <a:off x="4344180" y="3633357"/>
              <a:ext cx="2251787" cy="1418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D95E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Personalised recommendations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C9795E2-3FB8-45F7-A4B2-1F0D8F56860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16048" y="3853291"/>
              <a:ext cx="3471805" cy="1246633"/>
            </a:xfrm>
            <a:prstGeom prst="rect">
              <a:avLst/>
            </a:prstGeom>
            <a:ln w="12700">
              <a:solidFill>
                <a:srgbClr val="D95E00"/>
              </a:solidFill>
            </a:ln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2ED9581E-1C65-4F1A-8D9B-63A596EB1678}"/>
              </a:ext>
            </a:extLst>
          </p:cNvPr>
          <p:cNvSpPr txBox="1"/>
          <p:nvPr/>
        </p:nvSpPr>
        <p:spPr>
          <a:xfrm>
            <a:off x="574141" y="5290877"/>
            <a:ext cx="10990447" cy="1007106"/>
          </a:xfrm>
          <a:prstGeom prst="rect">
            <a:avLst/>
          </a:prstGeom>
          <a:noFill/>
          <a:ln>
            <a:solidFill>
              <a:srgbClr val="00677F"/>
            </a:solidFill>
          </a:ln>
        </p:spPr>
        <p:txBody>
          <a:bodyPr wrap="square" lIns="71963" tIns="71963" rIns="71963" bIns="71963" rtlCol="0" anchor="t">
            <a:spAutoFit/>
          </a:bodyPr>
          <a:lstStyle/>
          <a:p>
            <a:pPr marL="796290" marR="0" lvl="0" indent="-34226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oks like the recommendations has given us list of movies with 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ed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 as a the most common genre. We will be able to validate our work qualitatively but not by quantitative measures.</a:t>
            </a:r>
          </a:p>
          <a:p>
            <a:pPr marL="796290" marR="0" lvl="0" indent="-34226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xt Step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nce we have not done any validations on the implementations that we have seen till now, we will perform the validation on both user-user and item-item collaborative filtering as a next step with different implementation.</a:t>
            </a:r>
          </a:p>
        </p:txBody>
      </p:sp>
      <p:sp>
        <p:nvSpPr>
          <p:cNvPr id="57" name="Pentagon 23">
            <a:extLst>
              <a:ext uri="{FF2B5EF4-FFF2-40B4-BE49-F238E27FC236}">
                <a16:creationId xmlns:a16="http://schemas.microsoft.com/office/drawing/2014/main" id="{9E344B9E-5D1A-4EAF-B914-481621CC12E2}"/>
              </a:ext>
            </a:extLst>
          </p:cNvPr>
          <p:cNvSpPr/>
          <p:nvPr/>
        </p:nvSpPr>
        <p:spPr>
          <a:xfrm>
            <a:off x="582909" y="5288854"/>
            <a:ext cx="675127" cy="967003"/>
          </a:xfrm>
          <a:prstGeom prst="homePlate">
            <a:avLst/>
          </a:prstGeom>
          <a:ln>
            <a:solidFill>
              <a:srgbClr val="005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3" tIns="71963" rIns="71963" bIns="71963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r CS" pitchFamily="2" charset="0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26F930E-1CF6-4A02-A535-AE97201EBC92}"/>
              </a:ext>
            </a:extLst>
          </p:cNvPr>
          <p:cNvSpPr txBox="1"/>
          <p:nvPr/>
        </p:nvSpPr>
        <p:spPr>
          <a:xfrm>
            <a:off x="756226" y="3444147"/>
            <a:ext cx="530740" cy="576219"/>
          </a:xfrm>
          <a:prstGeom prst="rect">
            <a:avLst/>
          </a:prstGeom>
          <a:noFill/>
        </p:spPr>
        <p:txBody>
          <a:bodyPr wrap="square" lIns="71963" tIns="71963" rIns="71963" bIns="71963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aimler CS" pitchFamily="2" charset="0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Daimler CS" pitchFamily="2" charset="0"/>
              <a:ea typeface="+mn-ea"/>
              <a:cs typeface="+mn-cs"/>
            </a:endParaRPr>
          </a:p>
        </p:txBody>
      </p:sp>
      <p:sp>
        <p:nvSpPr>
          <p:cNvPr id="60" name="Oval Callout 101">
            <a:extLst>
              <a:ext uri="{FF2B5EF4-FFF2-40B4-BE49-F238E27FC236}">
                <a16:creationId xmlns:a16="http://schemas.microsoft.com/office/drawing/2014/main" id="{662FCA50-3200-4F18-9777-6B5FF7E05163}"/>
              </a:ext>
            </a:extLst>
          </p:cNvPr>
          <p:cNvSpPr/>
          <p:nvPr/>
        </p:nvSpPr>
        <p:spPr>
          <a:xfrm>
            <a:off x="1362747" y="3859291"/>
            <a:ext cx="2265625" cy="1136047"/>
          </a:xfrm>
          <a:prstGeom prst="wedgeEllipseCallout">
            <a:avLst>
              <a:gd name="adj1" fmla="val 76393"/>
              <a:gd name="adj2" fmla="val -85516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r CS" pitchFamily="2" charset="0"/>
                <a:ea typeface="+mn-ea"/>
                <a:cs typeface="+mn-cs"/>
              </a:rPr>
              <a:t>“Now we have personalized recommendations our user!” </a:t>
            </a:r>
          </a:p>
        </p:txBody>
      </p:sp>
      <p:sp>
        <p:nvSpPr>
          <p:cNvPr id="62" name="Oval Callout 101">
            <a:extLst>
              <a:ext uri="{FF2B5EF4-FFF2-40B4-BE49-F238E27FC236}">
                <a16:creationId xmlns:a16="http://schemas.microsoft.com/office/drawing/2014/main" id="{EE1C0C8E-0F84-45F7-B5AF-EA656233F9C6}"/>
              </a:ext>
            </a:extLst>
          </p:cNvPr>
          <p:cNvSpPr/>
          <p:nvPr/>
        </p:nvSpPr>
        <p:spPr>
          <a:xfrm>
            <a:off x="8445162" y="3910638"/>
            <a:ext cx="2147517" cy="1079090"/>
          </a:xfrm>
          <a:prstGeom prst="wedgeEllipseCallout">
            <a:avLst>
              <a:gd name="adj1" fmla="val -79919"/>
              <a:gd name="adj2" fmla="val -9210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r CS" pitchFamily="2" charset="0"/>
                <a:ea typeface="+mn-ea"/>
                <a:cs typeface="+mn-cs"/>
              </a:rPr>
              <a:t>“How do we validate this result?” 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148B5A2-BBAD-4F82-BA05-DFE006918EEA}"/>
              </a:ext>
            </a:extLst>
          </p:cNvPr>
          <p:cNvGrpSpPr/>
          <p:nvPr/>
        </p:nvGrpSpPr>
        <p:grpSpPr>
          <a:xfrm>
            <a:off x="10952420" y="3414690"/>
            <a:ext cx="530740" cy="576219"/>
            <a:chOff x="10952420" y="3414690"/>
            <a:chExt cx="530740" cy="576219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A5D604E-2BDC-434B-8BFB-1E9B4CDD63D0}"/>
                </a:ext>
              </a:extLst>
            </p:cNvPr>
            <p:cNvSpPr/>
            <p:nvPr/>
          </p:nvSpPr>
          <p:spPr>
            <a:xfrm>
              <a:off x="10952420" y="3445941"/>
              <a:ext cx="506631" cy="53979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065B258F-F2C2-40EF-8E94-4A92B4C2A97D}"/>
                </a:ext>
              </a:extLst>
            </p:cNvPr>
            <p:cNvSpPr txBox="1"/>
            <p:nvPr/>
          </p:nvSpPr>
          <p:spPr>
            <a:xfrm>
              <a:off x="10952420" y="3414690"/>
              <a:ext cx="530740" cy="576219"/>
            </a:xfrm>
            <a:prstGeom prst="rect">
              <a:avLst/>
            </a:prstGeom>
            <a:noFill/>
          </p:spPr>
          <p:txBody>
            <a:bodyPr wrap="square" lIns="71963" tIns="71963" rIns="71963" bIns="71963" rtlCol="0">
              <a:sp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aimler CS" pitchFamily="2" charset="0"/>
                  <a:ea typeface="+mn-ea"/>
                  <a:cs typeface="+mn-cs"/>
                  <a:sym typeface="Webdings" panose="05030102010509060703" pitchFamily="18" charset="2"/>
                </a:rPr>
                <a:t>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aimler CS" pitchFamily="2" charset="0"/>
                <a:ea typeface="+mn-ea"/>
                <a:cs typeface="+mn-cs"/>
              </a:endParaRP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D1BABFC6-3701-4A05-BBE3-5F495CF21649}"/>
              </a:ext>
            </a:extLst>
          </p:cNvPr>
          <p:cNvSpPr txBox="1">
            <a:spLocks/>
          </p:cNvSpPr>
          <p:nvPr/>
        </p:nvSpPr>
        <p:spPr>
          <a:xfrm>
            <a:off x="-344983" y="6463879"/>
            <a:ext cx="12192000" cy="21600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													RIT | MS Data Science | Fall 2021 | DSCI 633 | Final Projec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C950845-6301-47E4-9678-C0D04C53FC8B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36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466FF948-84AC-4D97-988D-0BF3D3CCA4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78889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id="{A94F088E-9EC0-4ECB-BF55-144CBAA30E39}"/>
              </a:ext>
            </a:extLst>
          </p:cNvPr>
          <p:cNvSpPr/>
          <p:nvPr/>
        </p:nvSpPr>
        <p:spPr>
          <a:xfrm>
            <a:off x="710277" y="3410936"/>
            <a:ext cx="506631" cy="53979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2">
            <a:extLst>
              <a:ext uri="{FF2B5EF4-FFF2-40B4-BE49-F238E27FC236}">
                <a16:creationId xmlns:a16="http://schemas.microsoft.com/office/drawing/2014/main" id="{F2D42B69-3937-4F7D-8DF2-008FDA9CF11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2909" y="1428895"/>
            <a:ext cx="10981679" cy="4848793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CE2AF22-8E36-4AE7-8CFE-560C6C6E8CFF}"/>
              </a:ext>
            </a:extLst>
          </p:cNvPr>
          <p:cNvGrpSpPr/>
          <p:nvPr/>
        </p:nvGrpSpPr>
        <p:grpSpPr>
          <a:xfrm>
            <a:off x="659440" y="1509131"/>
            <a:ext cx="3487257" cy="1680636"/>
            <a:chOff x="659440" y="1509131"/>
            <a:chExt cx="3487257" cy="168063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8B8060F5-5E24-40D8-9C47-3BFF5DDBBB99}"/>
                </a:ext>
              </a:extLst>
            </p:cNvPr>
            <p:cNvSpPr/>
            <p:nvPr/>
          </p:nvSpPr>
          <p:spPr>
            <a:xfrm>
              <a:off x="659440" y="1509131"/>
              <a:ext cx="3487257" cy="1680636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909BB45-169A-4403-B827-B952AB3174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8520" y="1934105"/>
              <a:ext cx="3341601" cy="1158333"/>
            </a:xfrm>
            <a:prstGeom prst="rect">
              <a:avLst/>
            </a:prstGeom>
          </p:spPr>
        </p:pic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DAC489A-674C-4C39-BC9D-18209D2BC4BD}"/>
                </a:ext>
              </a:extLst>
            </p:cNvPr>
            <p:cNvSpPr/>
            <p:nvPr/>
          </p:nvSpPr>
          <p:spPr>
            <a:xfrm>
              <a:off x="710277" y="1588268"/>
              <a:ext cx="2371404" cy="2485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Weighted ratings are added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400C7EC-FD5B-43A8-8DC8-DBF17E721232}"/>
              </a:ext>
            </a:extLst>
          </p:cNvPr>
          <p:cNvGrpSpPr/>
          <p:nvPr/>
        </p:nvGrpSpPr>
        <p:grpSpPr>
          <a:xfrm>
            <a:off x="4305535" y="1509131"/>
            <a:ext cx="3487257" cy="1680636"/>
            <a:chOff x="4266976" y="1504347"/>
            <a:chExt cx="3487257" cy="1680636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56D9263-AAE6-4DF8-8A33-2A70360CBEE0}"/>
                </a:ext>
              </a:extLst>
            </p:cNvPr>
            <p:cNvSpPr/>
            <p:nvPr/>
          </p:nvSpPr>
          <p:spPr>
            <a:xfrm>
              <a:off x="4266976" y="1504347"/>
              <a:ext cx="3487257" cy="1680636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C47F97D-155E-45D3-A545-D28EFBF80F8C}"/>
                </a:ext>
              </a:extLst>
            </p:cNvPr>
            <p:cNvSpPr/>
            <p:nvPr/>
          </p:nvSpPr>
          <p:spPr>
            <a:xfrm>
              <a:off x="4317813" y="1583484"/>
              <a:ext cx="2371404" cy="20460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Sum of similarity scores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B98818FA-EE9F-42FB-9959-268E0704F15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79003" y="1941744"/>
              <a:ext cx="3263201" cy="1164984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0FADDDE-F5DA-4820-B19F-EA68D12C59BB}"/>
              </a:ext>
            </a:extLst>
          </p:cNvPr>
          <p:cNvGrpSpPr/>
          <p:nvPr/>
        </p:nvGrpSpPr>
        <p:grpSpPr>
          <a:xfrm>
            <a:off x="7959925" y="1509131"/>
            <a:ext cx="3487257" cy="1728996"/>
            <a:chOff x="7865016" y="1496463"/>
            <a:chExt cx="3487257" cy="1728996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EEE4EB23-CE69-43BB-B263-FC33896F71B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15853" y="1788086"/>
              <a:ext cx="3257095" cy="1437373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25B2A4C-C684-4A04-A5D4-D8F7DC79A991}"/>
                </a:ext>
              </a:extLst>
            </p:cNvPr>
            <p:cNvSpPr/>
            <p:nvPr/>
          </p:nvSpPr>
          <p:spPr>
            <a:xfrm>
              <a:off x="7865016" y="1496463"/>
              <a:ext cx="3487257" cy="1680636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285D374-E93B-4107-8FFD-9B5E3F22EFE1}"/>
                </a:ext>
              </a:extLst>
            </p:cNvPr>
            <p:cNvSpPr/>
            <p:nvPr/>
          </p:nvSpPr>
          <p:spPr>
            <a:xfrm>
              <a:off x="7915853" y="1575600"/>
              <a:ext cx="2163812" cy="2124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Score with weighted average</a:t>
              </a:r>
            </a:p>
          </p:txBody>
        </p:sp>
      </p:grpSp>
      <p:sp>
        <p:nvSpPr>
          <p:cNvPr id="50" name="Flowchart: Extract 49">
            <a:extLst>
              <a:ext uri="{FF2B5EF4-FFF2-40B4-BE49-F238E27FC236}">
                <a16:creationId xmlns:a16="http://schemas.microsoft.com/office/drawing/2014/main" id="{2511187E-8A47-47D5-A53C-03AE8CDB0FF3}"/>
              </a:ext>
            </a:extLst>
          </p:cNvPr>
          <p:cNvSpPr/>
          <p:nvPr/>
        </p:nvSpPr>
        <p:spPr>
          <a:xfrm rot="10800000">
            <a:off x="710275" y="3301222"/>
            <a:ext cx="10736905" cy="189693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BB3AA53-8FBB-4123-AE55-DAFD76791AA3}"/>
              </a:ext>
            </a:extLst>
          </p:cNvPr>
          <p:cNvGrpSpPr/>
          <p:nvPr/>
        </p:nvGrpSpPr>
        <p:grpSpPr>
          <a:xfrm>
            <a:off x="4203374" y="3571446"/>
            <a:ext cx="3666786" cy="1636544"/>
            <a:chOff x="4293139" y="3571446"/>
            <a:chExt cx="3666786" cy="153900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07EA222E-18FC-4EEB-9496-C0F805969BF8}"/>
                </a:ext>
              </a:extLst>
            </p:cNvPr>
            <p:cNvSpPr/>
            <p:nvPr/>
          </p:nvSpPr>
          <p:spPr>
            <a:xfrm>
              <a:off x="4293139" y="3571446"/>
              <a:ext cx="3666786" cy="1539008"/>
            </a:xfrm>
            <a:prstGeom prst="rect">
              <a:avLst/>
            </a:prstGeom>
            <a:noFill/>
            <a:ln w="12700">
              <a:solidFill>
                <a:srgbClr val="D95E00"/>
              </a:solidFill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42B20A3-772E-4CBE-80DF-0BCA68A6E336}"/>
                </a:ext>
              </a:extLst>
            </p:cNvPr>
            <p:cNvSpPr/>
            <p:nvPr/>
          </p:nvSpPr>
          <p:spPr>
            <a:xfrm>
              <a:off x="4344180" y="3633357"/>
              <a:ext cx="2251787" cy="1418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D95E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aimle cs"/>
                  <a:ea typeface="+mn-ea"/>
                  <a:cs typeface="+mn-cs"/>
                </a:rPr>
                <a:t>Personalised recommendations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C9795E2-3FB8-45F7-A4B2-1F0D8F56860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16048" y="3853291"/>
              <a:ext cx="3471805" cy="1246633"/>
            </a:xfrm>
            <a:prstGeom prst="rect">
              <a:avLst/>
            </a:prstGeom>
            <a:ln w="12700">
              <a:solidFill>
                <a:srgbClr val="D95E00"/>
              </a:solidFill>
            </a:ln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2ED9581E-1C65-4F1A-8D9B-63A596EB1678}"/>
              </a:ext>
            </a:extLst>
          </p:cNvPr>
          <p:cNvSpPr txBox="1"/>
          <p:nvPr/>
        </p:nvSpPr>
        <p:spPr>
          <a:xfrm>
            <a:off x="574141" y="5290877"/>
            <a:ext cx="10990447" cy="1007106"/>
          </a:xfrm>
          <a:prstGeom prst="rect">
            <a:avLst/>
          </a:prstGeom>
          <a:noFill/>
          <a:ln>
            <a:solidFill>
              <a:srgbClr val="00677F"/>
            </a:solidFill>
          </a:ln>
        </p:spPr>
        <p:txBody>
          <a:bodyPr wrap="square" lIns="71963" tIns="71963" rIns="71963" bIns="71963" rtlCol="0" anchor="t">
            <a:spAutoFit/>
          </a:bodyPr>
          <a:lstStyle/>
          <a:p>
            <a:pPr marL="796290" marR="0" lvl="0" indent="-34226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Looks like the recommendations has given us list of movies with 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Comed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 as a the most common genre. We will be able to validate our work qualitatively but not by quantitative measures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796290" marR="0" lvl="0" indent="-34226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Next Step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Since we have not done any validations on the implementations that we have seen till now, we will perform the validation on both user-user and item-item collaborative filtering as a next step with different implementation.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imler CS" pitchFamily="2" charset="0"/>
              <a:ea typeface="+mn-ea"/>
              <a:cs typeface="+mn-cs"/>
            </a:endParaRPr>
          </a:p>
        </p:txBody>
      </p:sp>
      <p:sp>
        <p:nvSpPr>
          <p:cNvPr id="57" name="Pentagon 23">
            <a:extLst>
              <a:ext uri="{FF2B5EF4-FFF2-40B4-BE49-F238E27FC236}">
                <a16:creationId xmlns:a16="http://schemas.microsoft.com/office/drawing/2014/main" id="{9E344B9E-5D1A-4EAF-B914-481621CC12E2}"/>
              </a:ext>
            </a:extLst>
          </p:cNvPr>
          <p:cNvSpPr/>
          <p:nvPr/>
        </p:nvSpPr>
        <p:spPr>
          <a:xfrm>
            <a:off x="582909" y="5288854"/>
            <a:ext cx="675127" cy="967003"/>
          </a:xfrm>
          <a:prstGeom prst="homePlate">
            <a:avLst/>
          </a:prstGeom>
          <a:ln>
            <a:solidFill>
              <a:srgbClr val="005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3" tIns="71963" rIns="71963" bIns="71963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r CS" pitchFamily="2" charset="0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26F930E-1CF6-4A02-A535-AE97201EBC92}"/>
              </a:ext>
            </a:extLst>
          </p:cNvPr>
          <p:cNvSpPr txBox="1"/>
          <p:nvPr/>
        </p:nvSpPr>
        <p:spPr>
          <a:xfrm>
            <a:off x="756226" y="3444147"/>
            <a:ext cx="530740" cy="576219"/>
          </a:xfrm>
          <a:prstGeom prst="rect">
            <a:avLst/>
          </a:prstGeom>
          <a:noFill/>
        </p:spPr>
        <p:txBody>
          <a:bodyPr wrap="square" lIns="71963" tIns="71963" rIns="71963" bIns="71963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aimler CS" pitchFamily="2" charset="0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Daimler CS" pitchFamily="2" charset="0"/>
              <a:ea typeface="+mn-ea"/>
              <a:cs typeface="+mn-cs"/>
            </a:endParaRPr>
          </a:p>
        </p:txBody>
      </p:sp>
      <p:sp>
        <p:nvSpPr>
          <p:cNvPr id="60" name="Oval Callout 101">
            <a:extLst>
              <a:ext uri="{FF2B5EF4-FFF2-40B4-BE49-F238E27FC236}">
                <a16:creationId xmlns:a16="http://schemas.microsoft.com/office/drawing/2014/main" id="{662FCA50-3200-4F18-9777-6B5FF7E05163}"/>
              </a:ext>
            </a:extLst>
          </p:cNvPr>
          <p:cNvSpPr/>
          <p:nvPr/>
        </p:nvSpPr>
        <p:spPr>
          <a:xfrm>
            <a:off x="1362747" y="3859291"/>
            <a:ext cx="2265625" cy="1136047"/>
          </a:xfrm>
          <a:prstGeom prst="wedgeEllipseCallout">
            <a:avLst>
              <a:gd name="adj1" fmla="val 76393"/>
              <a:gd name="adj2" fmla="val -85516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r CS" pitchFamily="2" charset="0"/>
                <a:ea typeface="+mn-ea"/>
                <a:cs typeface="+mn-cs"/>
              </a:rPr>
              <a:t>“Now we have personalized recommendations our user!” </a:t>
            </a:r>
          </a:p>
        </p:txBody>
      </p:sp>
      <p:sp>
        <p:nvSpPr>
          <p:cNvPr id="62" name="Oval Callout 101">
            <a:extLst>
              <a:ext uri="{FF2B5EF4-FFF2-40B4-BE49-F238E27FC236}">
                <a16:creationId xmlns:a16="http://schemas.microsoft.com/office/drawing/2014/main" id="{EE1C0C8E-0F84-45F7-B5AF-EA656233F9C6}"/>
              </a:ext>
            </a:extLst>
          </p:cNvPr>
          <p:cNvSpPr/>
          <p:nvPr/>
        </p:nvSpPr>
        <p:spPr>
          <a:xfrm>
            <a:off x="8445162" y="3910638"/>
            <a:ext cx="2147517" cy="1079090"/>
          </a:xfrm>
          <a:prstGeom prst="wedgeEllipseCallout">
            <a:avLst>
              <a:gd name="adj1" fmla="val -79919"/>
              <a:gd name="adj2" fmla="val -9210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r CS" pitchFamily="2" charset="0"/>
                <a:ea typeface="+mn-ea"/>
                <a:cs typeface="+mn-cs"/>
              </a:rPr>
              <a:t>“How do we validate this result?” 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148B5A2-BBAD-4F82-BA05-DFE006918EEA}"/>
              </a:ext>
            </a:extLst>
          </p:cNvPr>
          <p:cNvGrpSpPr/>
          <p:nvPr/>
        </p:nvGrpSpPr>
        <p:grpSpPr>
          <a:xfrm>
            <a:off x="10952420" y="3414690"/>
            <a:ext cx="530740" cy="576219"/>
            <a:chOff x="10952420" y="3414690"/>
            <a:chExt cx="530740" cy="576219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A5D604E-2BDC-434B-8BFB-1E9B4CDD63D0}"/>
                </a:ext>
              </a:extLst>
            </p:cNvPr>
            <p:cNvSpPr/>
            <p:nvPr/>
          </p:nvSpPr>
          <p:spPr>
            <a:xfrm>
              <a:off x="10952420" y="3445941"/>
              <a:ext cx="506631" cy="53979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065B258F-F2C2-40EF-8E94-4A92B4C2A97D}"/>
                </a:ext>
              </a:extLst>
            </p:cNvPr>
            <p:cNvSpPr txBox="1"/>
            <p:nvPr/>
          </p:nvSpPr>
          <p:spPr>
            <a:xfrm>
              <a:off x="10952420" y="3414690"/>
              <a:ext cx="530740" cy="576219"/>
            </a:xfrm>
            <a:prstGeom prst="rect">
              <a:avLst/>
            </a:prstGeom>
            <a:noFill/>
          </p:spPr>
          <p:txBody>
            <a:bodyPr wrap="square" lIns="71963" tIns="71963" rIns="71963" bIns="71963" rtlCol="0">
              <a:sp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aimler CS" pitchFamily="2" charset="0"/>
                  <a:ea typeface="+mn-ea"/>
                  <a:cs typeface="+mn-cs"/>
                  <a:sym typeface="Webdings" panose="05030102010509060703" pitchFamily="18" charset="2"/>
                </a:rPr>
                <a:t>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aimler CS" pitchFamily="2" charset="0"/>
                <a:ea typeface="+mn-ea"/>
                <a:cs typeface="+mn-cs"/>
              </a:endParaRPr>
            </a:p>
          </p:txBody>
        </p:sp>
      </p:grp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300E37A-C852-4507-BC82-BCBB99E54441}"/>
              </a:ext>
            </a:extLst>
          </p:cNvPr>
          <p:cNvSpPr txBox="1">
            <a:spLocks/>
          </p:cNvSpPr>
          <p:nvPr/>
        </p:nvSpPr>
        <p:spPr>
          <a:xfrm>
            <a:off x="564486" y="600137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800"/>
              </a:spcBef>
              <a:buFont typeface="Arial"/>
              <a:buNone/>
              <a:defRPr sz="3200" b="0">
                <a:latin typeface="Daimler"/>
                <a:ea typeface="+mj-ea"/>
                <a:cs typeface="+mj-cs"/>
              </a:defRPr>
            </a:lvl1pPr>
            <a:lvl2pPr marL="990575" indent="-380990">
              <a:spcBef>
                <a:spcPct val="20000"/>
              </a:spcBef>
              <a:buFont typeface="Arial"/>
              <a:buChar char="–"/>
              <a:defRPr sz="3733"/>
            </a:lvl2pPr>
            <a:lvl3pPr marL="1523962" indent="-304792">
              <a:spcBef>
                <a:spcPct val="20000"/>
              </a:spcBef>
              <a:buFont typeface="Arial"/>
              <a:buChar char="•"/>
              <a:defRPr sz="3200"/>
            </a:lvl3pPr>
            <a:lvl4pPr marL="2133547" indent="-304792">
              <a:spcBef>
                <a:spcPct val="20000"/>
              </a:spcBef>
              <a:buFont typeface="Arial"/>
              <a:buChar char="–"/>
              <a:defRPr sz="2667"/>
            </a:lvl4pPr>
            <a:lvl5pPr marL="2743131" indent="-304792">
              <a:spcBef>
                <a:spcPct val="20000"/>
              </a:spcBef>
              <a:buFont typeface="Arial"/>
              <a:buChar char="»"/>
              <a:defRPr sz="2667"/>
            </a:lvl5pPr>
            <a:lvl6pPr marL="3352716" indent="-304792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ED VALIDATION TO CHECK PERFORMANCE OF THIS USER COLLABORATIVE FILTERING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3D6FAE91-FDA1-4F19-A522-B3CC2007AAF8}"/>
              </a:ext>
            </a:extLst>
          </p:cNvPr>
          <p:cNvSpPr/>
          <p:nvPr/>
        </p:nvSpPr>
        <p:spPr>
          <a:xfrm rot="19454044">
            <a:off x="4251877" y="3345450"/>
            <a:ext cx="3480999" cy="2125532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Stuck at this point</a:t>
            </a:r>
          </a:p>
        </p:txBody>
      </p:sp>
      <p:sp>
        <p:nvSpPr>
          <p:cNvPr id="37" name="Footer Placeholder 5">
            <a:extLst>
              <a:ext uri="{FF2B5EF4-FFF2-40B4-BE49-F238E27FC236}">
                <a16:creationId xmlns:a16="http://schemas.microsoft.com/office/drawing/2014/main" id="{DDB2342C-FAC1-408D-A14B-4C3BE27D03F7}"/>
              </a:ext>
            </a:extLst>
          </p:cNvPr>
          <p:cNvSpPr txBox="1">
            <a:spLocks/>
          </p:cNvSpPr>
          <p:nvPr/>
        </p:nvSpPr>
        <p:spPr>
          <a:xfrm>
            <a:off x="-344983" y="6463879"/>
            <a:ext cx="12192000" cy="21600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													RIT | MS Data Science | Fall 2021 | DSCI 633 | Final Projec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5F36336-C9C5-4B9F-98E2-EA19AEA0B197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37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D167F675-50A5-4F21-B96C-B1F380CDA2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2637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4BCA0A4-F9D7-4158-8086-69531A353535}"/>
              </a:ext>
            </a:extLst>
          </p:cNvPr>
          <p:cNvSpPr txBox="1">
            <a:spLocks/>
          </p:cNvSpPr>
          <p:nvPr/>
        </p:nvSpPr>
        <p:spPr>
          <a:xfrm>
            <a:off x="574141" y="684545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ROOT MEAN SQUARED ERROR USED AS A METRIC FOR VALIDATION</a:t>
            </a:r>
          </a:p>
        </p:txBody>
      </p:sp>
      <p:sp>
        <p:nvSpPr>
          <p:cNvPr id="6" name="Rectangle 32">
            <a:extLst>
              <a:ext uri="{FF2B5EF4-FFF2-40B4-BE49-F238E27FC236}">
                <a16:creationId xmlns:a16="http://schemas.microsoft.com/office/drawing/2014/main" id="{3E7D8ECF-ED4D-494C-9AEE-2DCFB6C6A4E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3479" y="1428895"/>
            <a:ext cx="10981679" cy="4848793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B7F59A-F19B-4DAE-A460-B258CADB7068}"/>
              </a:ext>
            </a:extLst>
          </p:cNvPr>
          <p:cNvSpPr/>
          <p:nvPr/>
        </p:nvSpPr>
        <p:spPr>
          <a:xfrm>
            <a:off x="1514474" y="2201778"/>
            <a:ext cx="9229725" cy="40320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0E728C3-ABBB-47FC-B9C7-73E95375E644}"/>
              </a:ext>
            </a:extLst>
          </p:cNvPr>
          <p:cNvSpPr/>
          <p:nvPr/>
        </p:nvSpPr>
        <p:spPr>
          <a:xfrm>
            <a:off x="1514474" y="2505829"/>
            <a:ext cx="9229725" cy="536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at is RMSE? Root mean square estimation is an estimate for the average difference between the predicted value and the actual value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49" name="Flowchart: Extract 48">
            <a:extLst>
              <a:ext uri="{FF2B5EF4-FFF2-40B4-BE49-F238E27FC236}">
                <a16:creationId xmlns:a16="http://schemas.microsoft.com/office/drawing/2014/main" id="{F00BFA4C-F9D9-47BD-8E01-484E925530D0}"/>
              </a:ext>
            </a:extLst>
          </p:cNvPr>
          <p:cNvSpPr/>
          <p:nvPr/>
        </p:nvSpPr>
        <p:spPr>
          <a:xfrm>
            <a:off x="1514474" y="1587508"/>
            <a:ext cx="9115426" cy="413470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MSE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F3AD97-6E40-4041-8DDE-386E616ABD2E}"/>
              </a:ext>
            </a:extLst>
          </p:cNvPr>
          <p:cNvSpPr/>
          <p:nvPr/>
        </p:nvSpPr>
        <p:spPr>
          <a:xfrm>
            <a:off x="1514474" y="5161073"/>
            <a:ext cx="9229725" cy="8206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y are we using it? Root mean square estimation is used as a protective measure to reduce the individual impact from the errors of each individual measurement, so that no one majorly faulty estimation will skew the result too much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6FB346E-4720-4A9C-86A0-DC7BFE4464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7067" y="3447695"/>
            <a:ext cx="4143375" cy="1162050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46DCA2A0-7B59-476A-A407-7B30A468DCFB}"/>
              </a:ext>
            </a:extLst>
          </p:cNvPr>
          <p:cNvSpPr/>
          <p:nvPr/>
        </p:nvSpPr>
        <p:spPr>
          <a:xfrm>
            <a:off x="2317067" y="3430046"/>
            <a:ext cx="4143375" cy="1179700"/>
          </a:xfrm>
          <a:prstGeom prst="rect">
            <a:avLst/>
          </a:prstGeom>
          <a:noFill/>
          <a:ln w="38100">
            <a:solidFill>
              <a:srgbClr val="D95E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Flowchart: Extract 51">
            <a:extLst>
              <a:ext uri="{FF2B5EF4-FFF2-40B4-BE49-F238E27FC236}">
                <a16:creationId xmlns:a16="http://schemas.microsoft.com/office/drawing/2014/main" id="{1242A745-AB2C-48C8-8DBA-DA390C3561E3}"/>
              </a:ext>
            </a:extLst>
          </p:cNvPr>
          <p:cNvSpPr/>
          <p:nvPr/>
        </p:nvSpPr>
        <p:spPr>
          <a:xfrm rot="5400000">
            <a:off x="6845558" y="3979301"/>
            <a:ext cx="152748" cy="99440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53" name="Flowchart: Extract 52">
            <a:extLst>
              <a:ext uri="{FF2B5EF4-FFF2-40B4-BE49-F238E27FC236}">
                <a16:creationId xmlns:a16="http://schemas.microsoft.com/office/drawing/2014/main" id="{C13976DB-F448-4821-8E4F-FB67BA946710}"/>
              </a:ext>
            </a:extLst>
          </p:cNvPr>
          <p:cNvSpPr/>
          <p:nvPr/>
        </p:nvSpPr>
        <p:spPr>
          <a:xfrm rot="5400000">
            <a:off x="6825665" y="3624661"/>
            <a:ext cx="152748" cy="99440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55" name="Flowchart: Extract 54">
            <a:extLst>
              <a:ext uri="{FF2B5EF4-FFF2-40B4-BE49-F238E27FC236}">
                <a16:creationId xmlns:a16="http://schemas.microsoft.com/office/drawing/2014/main" id="{D9CF537D-1D10-4B3B-836B-7439E4493DCE}"/>
              </a:ext>
            </a:extLst>
          </p:cNvPr>
          <p:cNvSpPr/>
          <p:nvPr/>
        </p:nvSpPr>
        <p:spPr>
          <a:xfrm rot="5400000">
            <a:off x="6855827" y="4333941"/>
            <a:ext cx="152748" cy="99440"/>
          </a:xfrm>
          <a:prstGeom prst="flowChartExtra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FC36D6-8542-461A-B50C-94360244A512}"/>
              </a:ext>
            </a:extLst>
          </p:cNvPr>
          <p:cNvSpPr txBox="1"/>
          <p:nvPr/>
        </p:nvSpPr>
        <p:spPr>
          <a:xfrm>
            <a:off x="7361437" y="3638377"/>
            <a:ext cx="321594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 </a:t>
            </a: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Number of estimators 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yj</a:t>
            </a: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 Current estimation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y-GB" sz="1400" b="0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kumimoji="0" lang="cy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4" tooltip="ŷ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ŷ</a:t>
            </a:r>
            <a:r>
              <a:rPr kumimoji="0" lang="cy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 </a:t>
            </a:r>
            <a:r>
              <a:rPr kumimoji="0" lang="cy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verage value of the estimations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Footer Placeholder 5">
            <a:extLst>
              <a:ext uri="{FF2B5EF4-FFF2-40B4-BE49-F238E27FC236}">
                <a16:creationId xmlns:a16="http://schemas.microsoft.com/office/drawing/2014/main" id="{C5AAB7A5-0C92-4026-811A-CDDF58C8C0AA}"/>
              </a:ext>
            </a:extLst>
          </p:cNvPr>
          <p:cNvSpPr txBox="1">
            <a:spLocks/>
          </p:cNvSpPr>
          <p:nvPr/>
        </p:nvSpPr>
        <p:spPr>
          <a:xfrm>
            <a:off x="-344983" y="6463879"/>
            <a:ext cx="12192000" cy="21600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													RIT | MS Data Science | Fall 2021 | DSCI 633 | Final Projec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65D616A-086B-49C4-827B-C6631C70F757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38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219A57D-5813-4CCE-BB17-5899D69729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08301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4BCA0A4-F9D7-4158-8086-69531A353535}"/>
              </a:ext>
            </a:extLst>
          </p:cNvPr>
          <p:cNvSpPr txBox="1">
            <a:spLocks/>
          </p:cNvSpPr>
          <p:nvPr/>
        </p:nvSpPr>
        <p:spPr>
          <a:xfrm>
            <a:off x="574141" y="684545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rmAutofit fontScale="92500"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SIMILARITY MATRIX FOR USER AND ITEM (NEW) BASED </a:t>
            </a:r>
          </a:p>
        </p:txBody>
      </p:sp>
      <p:sp>
        <p:nvSpPr>
          <p:cNvPr id="6" name="Rectangle 32">
            <a:extLst>
              <a:ext uri="{FF2B5EF4-FFF2-40B4-BE49-F238E27FC236}">
                <a16:creationId xmlns:a16="http://schemas.microsoft.com/office/drawing/2014/main" id="{3E7D8ECF-ED4D-494C-9AEE-2DCFB6C6A4E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2909" y="1428895"/>
            <a:ext cx="10981679" cy="4848793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B7F59A-F19B-4DAE-A460-B258CADB7068}"/>
              </a:ext>
            </a:extLst>
          </p:cNvPr>
          <p:cNvSpPr/>
          <p:nvPr/>
        </p:nvSpPr>
        <p:spPr>
          <a:xfrm>
            <a:off x="764412" y="2201778"/>
            <a:ext cx="5196904" cy="40320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0E728C3-ABBB-47FC-B9C7-73E95375E644}"/>
              </a:ext>
            </a:extLst>
          </p:cNvPr>
          <p:cNvSpPr/>
          <p:nvPr/>
        </p:nvSpPr>
        <p:spPr>
          <a:xfrm>
            <a:off x="766344" y="1569218"/>
            <a:ext cx="5196905" cy="536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ser similarity matrix generated with PC agai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21B06F-A703-4900-94EC-D8BF754149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344" y="2602632"/>
            <a:ext cx="5196904" cy="41910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2746581F-4451-46D7-929F-0A86A212715E}"/>
              </a:ext>
            </a:extLst>
          </p:cNvPr>
          <p:cNvSpPr/>
          <p:nvPr/>
        </p:nvSpPr>
        <p:spPr>
          <a:xfrm>
            <a:off x="766345" y="2245870"/>
            <a:ext cx="5196904" cy="2323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andom sample pulled from  the 1 million observations to reduce the complexity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01BABB1-2610-4FB8-96CA-7CC2F1AD9E94}"/>
              </a:ext>
            </a:extLst>
          </p:cNvPr>
          <p:cNvSpPr/>
          <p:nvPr/>
        </p:nvSpPr>
        <p:spPr>
          <a:xfrm>
            <a:off x="766343" y="2607554"/>
            <a:ext cx="5196906" cy="419100"/>
          </a:xfrm>
          <a:prstGeom prst="rect">
            <a:avLst/>
          </a:prstGeom>
          <a:noFill/>
          <a:ln w="12700">
            <a:solidFill>
              <a:srgbClr val="D95E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0613DD-6A83-4C38-AF98-020E0116F7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124" y="3502904"/>
            <a:ext cx="5191125" cy="247650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5CD28A31-2291-43ED-9262-2D6B6832017B}"/>
              </a:ext>
            </a:extLst>
          </p:cNvPr>
          <p:cNvSpPr/>
          <p:nvPr/>
        </p:nvSpPr>
        <p:spPr>
          <a:xfrm>
            <a:off x="766343" y="3146141"/>
            <a:ext cx="5196904" cy="2323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aving the test size as 2% of 20,004 random sample data</a:t>
            </a:r>
          </a:p>
        </p:txBody>
      </p:sp>
      <p:sp>
        <p:nvSpPr>
          <p:cNvPr id="44" name="Hexagon 43">
            <a:extLst>
              <a:ext uri="{FF2B5EF4-FFF2-40B4-BE49-F238E27FC236}">
                <a16:creationId xmlns:a16="http://schemas.microsoft.com/office/drawing/2014/main" id="{9D401218-3BE0-4023-9E10-B3CBCBF71BD3}"/>
              </a:ext>
            </a:extLst>
          </p:cNvPr>
          <p:cNvSpPr/>
          <p:nvPr/>
        </p:nvSpPr>
        <p:spPr>
          <a:xfrm rot="5400000">
            <a:off x="5866952" y="2185577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45" name="Hexagon 44">
            <a:extLst>
              <a:ext uri="{FF2B5EF4-FFF2-40B4-BE49-F238E27FC236}">
                <a16:creationId xmlns:a16="http://schemas.microsoft.com/office/drawing/2014/main" id="{28AA850D-1052-4ADE-A4BC-77A4D54822F2}"/>
              </a:ext>
            </a:extLst>
          </p:cNvPr>
          <p:cNvSpPr/>
          <p:nvPr/>
        </p:nvSpPr>
        <p:spPr>
          <a:xfrm rot="5400000">
            <a:off x="5866951" y="3088276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D582477-528B-460C-8342-001E0B1D66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8370" y="3846345"/>
            <a:ext cx="3752850" cy="371475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1E61646C-40BB-47B3-AEB1-A6AD04D203BA}"/>
              </a:ext>
            </a:extLst>
          </p:cNvPr>
          <p:cNvSpPr/>
          <p:nvPr/>
        </p:nvSpPr>
        <p:spPr>
          <a:xfrm>
            <a:off x="766339" y="3502904"/>
            <a:ext cx="5196906" cy="228938"/>
          </a:xfrm>
          <a:prstGeom prst="rect">
            <a:avLst/>
          </a:prstGeom>
          <a:noFill/>
          <a:ln w="12700">
            <a:solidFill>
              <a:srgbClr val="D95E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9396330-9851-4DDA-B41A-FE449B5C80F2}"/>
              </a:ext>
            </a:extLst>
          </p:cNvPr>
          <p:cNvSpPr/>
          <p:nvPr/>
        </p:nvSpPr>
        <p:spPr>
          <a:xfrm>
            <a:off x="772124" y="4308621"/>
            <a:ext cx="5196904" cy="2323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ser similarity matrix using pairwise_distances</a:t>
            </a:r>
          </a:p>
        </p:txBody>
      </p:sp>
      <p:sp>
        <p:nvSpPr>
          <p:cNvPr id="48" name="Hexagon 47">
            <a:extLst>
              <a:ext uri="{FF2B5EF4-FFF2-40B4-BE49-F238E27FC236}">
                <a16:creationId xmlns:a16="http://schemas.microsoft.com/office/drawing/2014/main" id="{40C343B0-7DC1-4695-A65D-7D1F4686D0C3}"/>
              </a:ext>
            </a:extLst>
          </p:cNvPr>
          <p:cNvSpPr/>
          <p:nvPr/>
        </p:nvSpPr>
        <p:spPr>
          <a:xfrm rot="5400000">
            <a:off x="5866950" y="4275310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A27A078-9A92-4B67-8CCB-B6AED1E79D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0191" y="4670459"/>
            <a:ext cx="5191125" cy="222621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CAC2C294-5ABE-496C-B124-3A68DD48B285}"/>
              </a:ext>
            </a:extLst>
          </p:cNvPr>
          <p:cNvSpPr/>
          <p:nvPr/>
        </p:nvSpPr>
        <p:spPr>
          <a:xfrm>
            <a:off x="772124" y="4666345"/>
            <a:ext cx="5196906" cy="228938"/>
          </a:xfrm>
          <a:prstGeom prst="rect">
            <a:avLst/>
          </a:prstGeom>
          <a:noFill/>
          <a:ln w="12700">
            <a:solidFill>
              <a:srgbClr val="D95E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AC038EDC-CB3E-4779-834E-6D206A4314EB}"/>
              </a:ext>
            </a:extLst>
          </p:cNvPr>
          <p:cNvSpPr/>
          <p:nvPr/>
        </p:nvSpPr>
        <p:spPr>
          <a:xfrm rot="5400000">
            <a:off x="5279918" y="4458275"/>
            <a:ext cx="118763" cy="1049154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C8E74B6-4363-45CE-B438-FE1288AEC849}"/>
              </a:ext>
            </a:extLst>
          </p:cNvPr>
          <p:cNvSpPr txBox="1"/>
          <p:nvPr/>
        </p:nvSpPr>
        <p:spPr>
          <a:xfrm>
            <a:off x="4669603" y="5036858"/>
            <a:ext cx="13962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Using Pearson Corr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C2C4677-751A-444D-A9C0-0A3DB0BC0C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88370" y="5313857"/>
            <a:ext cx="3580861" cy="874588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4F180CB4-292B-4DB5-BBB5-456D01F33FC2}"/>
              </a:ext>
            </a:extLst>
          </p:cNvPr>
          <p:cNvSpPr/>
          <p:nvPr/>
        </p:nvSpPr>
        <p:spPr>
          <a:xfrm>
            <a:off x="1488370" y="5274534"/>
            <a:ext cx="3580861" cy="949358"/>
          </a:xfrm>
          <a:prstGeom prst="rect">
            <a:avLst/>
          </a:prstGeom>
          <a:noFill/>
          <a:ln w="28575">
            <a:solidFill>
              <a:srgbClr val="D95E00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886678E-639B-4533-8324-E96A73ED5CFE}"/>
              </a:ext>
            </a:extLst>
          </p:cNvPr>
          <p:cNvSpPr txBox="1"/>
          <p:nvPr/>
        </p:nvSpPr>
        <p:spPr>
          <a:xfrm>
            <a:off x="1488370" y="4959601"/>
            <a:ext cx="3231141" cy="27699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User similarity matrix computed in 7.15 seconds: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9B8A57A-0A3F-491F-8557-D68E54FCA626}"/>
              </a:ext>
            </a:extLst>
          </p:cNvPr>
          <p:cNvSpPr/>
          <p:nvPr/>
        </p:nvSpPr>
        <p:spPr>
          <a:xfrm>
            <a:off x="6194341" y="1569218"/>
            <a:ext cx="5196905" cy="536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tem similarity matrix generated with PC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New)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A77C9AD-8277-486C-B5DF-6558E62CC05D}"/>
              </a:ext>
            </a:extLst>
          </p:cNvPr>
          <p:cNvSpPr/>
          <p:nvPr/>
        </p:nvSpPr>
        <p:spPr>
          <a:xfrm>
            <a:off x="6221039" y="2201512"/>
            <a:ext cx="5196904" cy="40320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F633897-4E7F-4334-A518-3CA45BEAFE9A}"/>
              </a:ext>
            </a:extLst>
          </p:cNvPr>
          <p:cNvSpPr/>
          <p:nvPr/>
        </p:nvSpPr>
        <p:spPr>
          <a:xfrm>
            <a:off x="6218219" y="2245870"/>
            <a:ext cx="5196904" cy="2323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tem similarity matrix using pairwise_distances</a:t>
            </a:r>
          </a:p>
        </p:txBody>
      </p:sp>
      <p:sp>
        <p:nvSpPr>
          <p:cNvPr id="50" name="Hexagon 49">
            <a:extLst>
              <a:ext uri="{FF2B5EF4-FFF2-40B4-BE49-F238E27FC236}">
                <a16:creationId xmlns:a16="http://schemas.microsoft.com/office/drawing/2014/main" id="{493BC46E-71EA-4CA3-9B39-18A93C7511E0}"/>
              </a:ext>
            </a:extLst>
          </p:cNvPr>
          <p:cNvSpPr/>
          <p:nvPr/>
        </p:nvSpPr>
        <p:spPr>
          <a:xfrm rot="5400000">
            <a:off x="11313045" y="2212559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59C26F81-B345-4636-A26B-853B9A5F8C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6286" y="2607708"/>
            <a:ext cx="5191125" cy="222621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B2185306-E03A-4AF3-B5EA-EA8D2677E33E}"/>
              </a:ext>
            </a:extLst>
          </p:cNvPr>
          <p:cNvSpPr/>
          <p:nvPr/>
        </p:nvSpPr>
        <p:spPr>
          <a:xfrm>
            <a:off x="6218219" y="2603594"/>
            <a:ext cx="5196906" cy="228938"/>
          </a:xfrm>
          <a:prstGeom prst="rect">
            <a:avLst/>
          </a:prstGeom>
          <a:noFill/>
          <a:ln w="12700">
            <a:solidFill>
              <a:srgbClr val="D95E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Right Brace 52">
            <a:extLst>
              <a:ext uri="{FF2B5EF4-FFF2-40B4-BE49-F238E27FC236}">
                <a16:creationId xmlns:a16="http://schemas.microsoft.com/office/drawing/2014/main" id="{90F84793-0A2F-4021-A920-67EA011387FF}"/>
              </a:ext>
            </a:extLst>
          </p:cNvPr>
          <p:cNvSpPr/>
          <p:nvPr/>
        </p:nvSpPr>
        <p:spPr>
          <a:xfrm rot="5400000">
            <a:off x="10726013" y="2395524"/>
            <a:ext cx="118763" cy="1049154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9801D3C-F33B-401E-B970-BEDACB21D626}"/>
              </a:ext>
            </a:extLst>
          </p:cNvPr>
          <p:cNvSpPr txBox="1"/>
          <p:nvPr/>
        </p:nvSpPr>
        <p:spPr>
          <a:xfrm>
            <a:off x="10115698" y="2974107"/>
            <a:ext cx="13962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Using Pearson Corr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3E8DE77-B081-4DB6-AA21-E1ED966D97CC}"/>
              </a:ext>
            </a:extLst>
          </p:cNvPr>
          <p:cNvGrpSpPr/>
          <p:nvPr/>
        </p:nvGrpSpPr>
        <p:grpSpPr>
          <a:xfrm>
            <a:off x="6534837" y="3028225"/>
            <a:ext cx="3580861" cy="949358"/>
            <a:chOff x="6934465" y="3211783"/>
            <a:chExt cx="3580861" cy="949358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171E77E-BE17-4F80-8F52-F2786964F151}"/>
                </a:ext>
              </a:extLst>
            </p:cNvPr>
            <p:cNvSpPr/>
            <p:nvPr/>
          </p:nvSpPr>
          <p:spPr>
            <a:xfrm>
              <a:off x="6934465" y="3211783"/>
              <a:ext cx="3580861" cy="949358"/>
            </a:xfrm>
            <a:prstGeom prst="rect">
              <a:avLst/>
            </a:prstGeom>
            <a:noFill/>
            <a:ln w="28575">
              <a:solidFill>
                <a:srgbClr val="D95E00"/>
              </a:solidFill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FB07474-BE75-4766-82E6-FF52CA6988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977388" y="3242140"/>
              <a:ext cx="3495013" cy="86677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62290F6-185B-43C2-960A-55E14E1AC1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16286" y="4530408"/>
            <a:ext cx="5217244" cy="1504632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CE268DE3-73B2-4043-94C5-8A614844F75B}"/>
              </a:ext>
            </a:extLst>
          </p:cNvPr>
          <p:cNvSpPr/>
          <p:nvPr/>
        </p:nvSpPr>
        <p:spPr>
          <a:xfrm>
            <a:off x="6230684" y="4170499"/>
            <a:ext cx="5196904" cy="2323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unction for calculating RMSE</a:t>
            </a:r>
          </a:p>
        </p:txBody>
      </p:sp>
      <p:sp>
        <p:nvSpPr>
          <p:cNvPr id="69" name="Hexagon 68">
            <a:extLst>
              <a:ext uri="{FF2B5EF4-FFF2-40B4-BE49-F238E27FC236}">
                <a16:creationId xmlns:a16="http://schemas.microsoft.com/office/drawing/2014/main" id="{D9DAB420-CA37-47E5-93EA-BAB7D460F09E}"/>
              </a:ext>
            </a:extLst>
          </p:cNvPr>
          <p:cNvSpPr/>
          <p:nvPr/>
        </p:nvSpPr>
        <p:spPr>
          <a:xfrm rot="5400000">
            <a:off x="11325510" y="4137188"/>
            <a:ext cx="192589" cy="198739"/>
          </a:xfrm>
          <a:prstGeom prst="hexagon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70" name="Footer Placeholder 5">
            <a:extLst>
              <a:ext uri="{FF2B5EF4-FFF2-40B4-BE49-F238E27FC236}">
                <a16:creationId xmlns:a16="http://schemas.microsoft.com/office/drawing/2014/main" id="{FD1980AC-5968-49CA-AE5A-EB8A48140BE1}"/>
              </a:ext>
            </a:extLst>
          </p:cNvPr>
          <p:cNvSpPr txBox="1">
            <a:spLocks/>
          </p:cNvSpPr>
          <p:nvPr/>
        </p:nvSpPr>
        <p:spPr>
          <a:xfrm>
            <a:off x="-344983" y="6463879"/>
            <a:ext cx="12192000" cy="21600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													RIT | MS Data Science | Fall 2021 | DSCI 633 | Final Projec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399CA7A-CD31-4DED-9EA8-D2E8496EBE96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39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8B97E474-E0F8-4C47-A900-95A803783CF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797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9D300BEA-6C41-4078-AEB2-B77C6821DF94}"/>
              </a:ext>
            </a:extLst>
          </p:cNvPr>
          <p:cNvSpPr/>
          <p:nvPr/>
        </p:nvSpPr>
        <p:spPr>
          <a:xfrm>
            <a:off x="6606448" y="1582790"/>
            <a:ext cx="5171570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Features in the dataset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9C1E4AC-1FE9-4671-8EDB-49DCED33B373}"/>
              </a:ext>
            </a:extLst>
          </p:cNvPr>
          <p:cNvSpPr txBox="1">
            <a:spLocks/>
          </p:cNvSpPr>
          <p:nvPr/>
        </p:nvSpPr>
        <p:spPr>
          <a:xfrm>
            <a:off x="0" y="580671"/>
            <a:ext cx="12192000" cy="603740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THE GROUPLENS DATA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4780AF8-2A3B-473C-8BD4-1380C94B8398}"/>
              </a:ext>
            </a:extLst>
          </p:cNvPr>
          <p:cNvSpPr txBox="1"/>
          <p:nvPr/>
        </p:nvSpPr>
        <p:spPr bwMode="auto">
          <a:xfrm>
            <a:off x="2944719" y="6292290"/>
            <a:ext cx="6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ctr" anchorCtr="0">
            <a:spAutoFit/>
          </a:bodyPr>
          <a:lstStyle/>
          <a:p>
            <a:pPr algn="ctr" fontAlgn="b"/>
            <a:endParaRPr lang="en-US" sz="1400" dirty="0"/>
          </a:p>
          <a:p>
            <a:pPr algn="ctr" fontAlgn="b"/>
            <a:endParaRPr lang="en-US" sz="1400" dirty="0">
              <a:cs typeface="Daimler 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7250D3-7645-41B5-B17E-32D1EB6955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6447" y="2185933"/>
            <a:ext cx="5171571" cy="2290533"/>
          </a:xfrm>
          <a:prstGeom prst="rect">
            <a:avLst/>
          </a:prstGeom>
        </p:spPr>
      </p:pic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8C4EA6-B127-4BB7-BB65-3F8B59A0E132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en-GB" sz="1100" dirty="0">
                <a:solidFill>
                  <a:prstClr val="black"/>
                </a:solidFill>
              </a:rPr>
              <a:t>RIT | MS Data Science | Fall 2021 | DSCI 633 | Final Project</a:t>
            </a:r>
            <a:endParaRPr lang="en-US" sz="1100" b="0" dirty="0"/>
          </a:p>
          <a:p>
            <a:pPr algn="r" defTabSz="1088633"/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5EDD9E0-9191-433F-A9FA-8C98E66C9B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7795"/>
            <a:ext cx="223138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4C1C065-6090-4A52-B20F-96884B046952}"/>
              </a:ext>
            </a:extLst>
          </p:cNvPr>
          <p:cNvSpPr/>
          <p:nvPr/>
        </p:nvSpPr>
        <p:spPr>
          <a:xfrm>
            <a:off x="532261" y="1630751"/>
            <a:ext cx="2006221" cy="205398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6040</a:t>
            </a: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Users</a:t>
            </a:r>
          </a:p>
          <a:p>
            <a:pPr algn="ctr"/>
            <a:endParaRPr lang="en-IN" dirty="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BAE37D8-7964-4698-A84F-920A5EB0BCFB}"/>
              </a:ext>
            </a:extLst>
          </p:cNvPr>
          <p:cNvSpPr/>
          <p:nvPr/>
        </p:nvSpPr>
        <p:spPr>
          <a:xfrm>
            <a:off x="2172267" y="3487002"/>
            <a:ext cx="2006221" cy="205398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1 M+ User Ratings</a:t>
            </a:r>
          </a:p>
          <a:p>
            <a:pPr algn="ctr"/>
            <a:endParaRPr lang="en-IN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E2A1633-5223-46DE-AB00-63249057669D}"/>
              </a:ext>
            </a:extLst>
          </p:cNvPr>
          <p:cNvSpPr/>
          <p:nvPr/>
        </p:nvSpPr>
        <p:spPr>
          <a:xfrm>
            <a:off x="3812273" y="1630751"/>
            <a:ext cx="2006221" cy="205398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3883 Movies</a:t>
            </a:r>
          </a:p>
          <a:p>
            <a:pPr algn="ctr"/>
            <a:endParaRPr lang="en-IN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B2F127C-953A-4513-B8DD-5E2DF63FA6B0}"/>
              </a:ext>
            </a:extLst>
          </p:cNvPr>
          <p:cNvSpPr/>
          <p:nvPr/>
        </p:nvSpPr>
        <p:spPr>
          <a:xfrm>
            <a:off x="290483" y="5929405"/>
            <a:ext cx="5769788" cy="3659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1"/>
                </a:solidFill>
              </a:rPr>
              <a:t>https://grouplens.org/datasets/movielens/1m/</a:t>
            </a:r>
          </a:p>
        </p:txBody>
      </p:sp>
    </p:spTree>
    <p:extLst>
      <p:ext uri="{BB962C8B-B14F-4D97-AF65-F5344CB8AC3E}">
        <p14:creationId xmlns:p14="http://schemas.microsoft.com/office/powerpoint/2010/main" val="188046727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0BD098D-A83E-40A0-9022-9CAF06A17F84}"/>
              </a:ext>
            </a:extLst>
          </p:cNvPr>
          <p:cNvSpPr/>
          <p:nvPr/>
        </p:nvSpPr>
        <p:spPr>
          <a:xfrm>
            <a:off x="708892" y="5696527"/>
            <a:ext cx="5018807" cy="43526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_AV_ImgBackup">
            <a:extLst>
              <a:ext uri="{FF2B5EF4-FFF2-40B4-BE49-F238E27FC236}">
                <a16:creationId xmlns:a16="http://schemas.microsoft.com/office/drawing/2014/main" id="{7A5C65DC-93E4-428B-9B4B-21DB050C8FDB}"/>
              </a:ext>
            </a:extLst>
          </p:cNvPr>
          <p:cNvSpPr>
            <a:spLocks noChangeAspect="1" noChangeArrowheads="1"/>
          </p:cNvSpPr>
          <p:nvPr/>
        </p:nvSpPr>
        <p:spPr bwMode="auto">
          <a:xfrm rot="16200000">
            <a:off x="8718344" y="-739673"/>
            <a:ext cx="305501" cy="5084768"/>
          </a:xfrm>
          <a:prstGeom prst="flowChartDelay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vert" wrap="square" anchor="t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7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31" name="_AV_ImgBackup">
            <a:extLst>
              <a:ext uri="{FF2B5EF4-FFF2-40B4-BE49-F238E27FC236}">
                <a16:creationId xmlns:a16="http://schemas.microsoft.com/office/drawing/2014/main" id="{B4138745-DA6E-4B5C-84B1-A43428E938E0}"/>
              </a:ext>
            </a:extLst>
          </p:cNvPr>
          <p:cNvSpPr>
            <a:spLocks noChangeAspect="1" noChangeArrowheads="1"/>
          </p:cNvSpPr>
          <p:nvPr/>
        </p:nvSpPr>
        <p:spPr bwMode="auto">
          <a:xfrm rot="16200000">
            <a:off x="8628887" y="-531827"/>
            <a:ext cx="433310" cy="5084768"/>
          </a:xfrm>
          <a:prstGeom prst="flowChartDelay">
            <a:avLst/>
          </a:prstGeom>
          <a:solidFill>
            <a:schemeClr val="accent1"/>
          </a:solidFill>
          <a:ln w="9525">
            <a:solidFill>
              <a:schemeClr val="tx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" wrap="square" anchor="t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ssons Learne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D0FE99E-EF5B-4672-AB42-1BDAF1ABD3A9}"/>
              </a:ext>
            </a:extLst>
          </p:cNvPr>
          <p:cNvSpPr txBox="1"/>
          <p:nvPr/>
        </p:nvSpPr>
        <p:spPr>
          <a:xfrm>
            <a:off x="6567950" y="2391910"/>
            <a:ext cx="4662656" cy="6377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txBody>
          <a:bodyPr wrap="square" lIns="71963" tIns="71963" rIns="71963" bIns="71963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en new user enters the system, we will not be able to recommend movies to him/h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76DBBAD-1838-47BF-9D69-11A814F44C75}"/>
              </a:ext>
            </a:extLst>
          </p:cNvPr>
          <p:cNvSpPr txBox="1"/>
          <p:nvPr/>
        </p:nvSpPr>
        <p:spPr>
          <a:xfrm>
            <a:off x="6570332" y="3519817"/>
            <a:ext cx="4662656" cy="6377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txBody>
          <a:bodyPr wrap="square" lIns="71963" tIns="71963" rIns="71963" bIns="71963" rtlCol="0">
            <a:spAutoFit/>
          </a:bodyPr>
          <a:lstStyle>
            <a:defPPr>
              <a:defRPr lang="de-DE"/>
            </a:defPPr>
            <a:lvl1pPr>
              <a:defRPr sz="1600">
                <a:latin typeface="Daimler CS" pitchFamily="2" charset="0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f new movie without any ratings data is added, the model's performance will be ba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397AD74-C280-476E-9E81-036D142AC50C}"/>
              </a:ext>
            </a:extLst>
          </p:cNvPr>
          <p:cNvSpPr txBox="1"/>
          <p:nvPr/>
        </p:nvSpPr>
        <p:spPr>
          <a:xfrm>
            <a:off x="6570332" y="4647724"/>
            <a:ext cx="4662656" cy="8839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txBody>
          <a:bodyPr wrap="square" lIns="71963" tIns="71963" rIns="71963" bIns="71963" rtlCol="0">
            <a:spAutoFit/>
          </a:bodyPr>
          <a:lstStyle>
            <a:defPPr>
              <a:defRPr lang="de-DE"/>
            </a:defPPr>
            <a:lvl1pPr>
              <a:defRPr sz="1600">
                <a:latin typeface="Daimler CS" pitchFamily="2" charset="0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 performance will be bad with sparse data, meaning it's hard to find users that have rated the same item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95B7C6E-207B-4EBA-B0F6-2CCAD14C37CE}"/>
              </a:ext>
            </a:extLst>
          </p:cNvPr>
          <p:cNvSpPr txBox="1"/>
          <p:nvPr/>
        </p:nvSpPr>
        <p:spPr>
          <a:xfrm>
            <a:off x="6570332" y="5775632"/>
            <a:ext cx="4662656" cy="3915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dash"/>
          </a:ln>
        </p:spPr>
        <p:txBody>
          <a:bodyPr wrap="square" lIns="71963" tIns="71963" rIns="71963" bIns="71963" rtlCol="0">
            <a:spAutoFit/>
          </a:bodyPr>
          <a:lstStyle>
            <a:defPPr>
              <a:defRPr lang="de-DE"/>
            </a:defPPr>
            <a:lvl1pPr marL="285750" indent="-285750">
              <a:buFont typeface="Arial" panose="020B0604020202020204" pitchFamily="34" charset="0"/>
              <a:buChar char="•"/>
              <a:defRPr sz="1600">
                <a:latin typeface="Daimler CS" pitchFamily="2" charset="0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t tends to recommend items that are popula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469C908-C0E9-4B6D-8F75-6C0CB1735CE3}"/>
              </a:ext>
            </a:extLst>
          </p:cNvPr>
          <p:cNvGrpSpPr/>
          <p:nvPr/>
        </p:nvGrpSpPr>
        <p:grpSpPr>
          <a:xfrm>
            <a:off x="708595" y="2600114"/>
            <a:ext cx="5064948" cy="3536293"/>
            <a:chOff x="731855" y="2752557"/>
            <a:chExt cx="5297470" cy="2409994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F7A8C675-F355-4F99-975F-A81657A5793F}"/>
                </a:ext>
              </a:extLst>
            </p:cNvPr>
            <p:cNvSpPr/>
            <p:nvPr/>
          </p:nvSpPr>
          <p:spPr>
            <a:xfrm>
              <a:off x="731855" y="3021205"/>
              <a:ext cx="5297470" cy="214134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imle cs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48680A5-AAC6-49E2-80D2-B7A9BD02FA1B}"/>
                </a:ext>
              </a:extLst>
            </p:cNvPr>
            <p:cNvSpPr/>
            <p:nvPr/>
          </p:nvSpPr>
          <p:spPr>
            <a:xfrm>
              <a:off x="731855" y="2752557"/>
              <a:ext cx="5297470" cy="23604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Memory Based Collaborative Model</a:t>
              </a: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C652FCE8-4750-4904-9B83-269475F598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6288" y="2463364"/>
            <a:ext cx="393918" cy="43331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C779A431-0AAC-4D5D-8422-8D02776CB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6288" y="3594046"/>
            <a:ext cx="393918" cy="43331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227B83A5-B784-4C68-BCB4-02614A8E73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6288" y="4729241"/>
            <a:ext cx="393918" cy="43331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C35768D3-236E-4F3E-8C68-BEB51D2C69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6288" y="5744400"/>
            <a:ext cx="393918" cy="4333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2CA68B9-159F-4DB1-B407-058A10A19ACB}"/>
              </a:ext>
            </a:extLst>
          </p:cNvPr>
          <p:cNvSpPr/>
          <p:nvPr/>
        </p:nvSpPr>
        <p:spPr>
          <a:xfrm>
            <a:off x="1743075" y="3310857"/>
            <a:ext cx="2914650" cy="2476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oot Mean Squared Errors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971D04C-6369-4019-A69D-36336794F3F7}"/>
              </a:ext>
            </a:extLst>
          </p:cNvPr>
          <p:cNvCxnSpPr/>
          <p:nvPr/>
        </p:nvCxnSpPr>
        <p:spPr>
          <a:xfrm>
            <a:off x="2038350" y="3575304"/>
            <a:ext cx="0" cy="150683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Right Arrow 13">
            <a:extLst>
              <a:ext uri="{FF2B5EF4-FFF2-40B4-BE49-F238E27FC236}">
                <a16:creationId xmlns:a16="http://schemas.microsoft.com/office/drawing/2014/main" id="{42AB9707-8652-4626-A853-70699E9539A6}"/>
              </a:ext>
            </a:extLst>
          </p:cNvPr>
          <p:cNvSpPr/>
          <p:nvPr/>
        </p:nvSpPr>
        <p:spPr>
          <a:xfrm>
            <a:off x="2057466" y="4618369"/>
            <a:ext cx="1133410" cy="622159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Item Based</a:t>
            </a:r>
          </a:p>
        </p:txBody>
      </p:sp>
      <p:sp>
        <p:nvSpPr>
          <p:cNvPr id="69" name="Right Arrow 13">
            <a:extLst>
              <a:ext uri="{FF2B5EF4-FFF2-40B4-BE49-F238E27FC236}">
                <a16:creationId xmlns:a16="http://schemas.microsoft.com/office/drawing/2014/main" id="{BF7F6C0C-3434-48BD-A08B-8040AE9DB460}"/>
              </a:ext>
            </a:extLst>
          </p:cNvPr>
          <p:cNvSpPr/>
          <p:nvPr/>
        </p:nvSpPr>
        <p:spPr>
          <a:xfrm>
            <a:off x="2057466" y="3715145"/>
            <a:ext cx="1133410" cy="622159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User Based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4A23BC4-0BBC-4538-8016-D0D2F102BAE2}"/>
              </a:ext>
            </a:extLst>
          </p:cNvPr>
          <p:cNvSpPr/>
          <p:nvPr/>
        </p:nvSpPr>
        <p:spPr>
          <a:xfrm>
            <a:off x="3241069" y="3791630"/>
            <a:ext cx="1416656" cy="43490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1416.489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C7F9CAC-9B99-4C8C-8473-D087052472AB}"/>
              </a:ext>
            </a:extLst>
          </p:cNvPr>
          <p:cNvSpPr/>
          <p:nvPr/>
        </p:nvSpPr>
        <p:spPr>
          <a:xfrm>
            <a:off x="3241069" y="4720786"/>
            <a:ext cx="1416656" cy="43490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imle cs"/>
                <a:ea typeface="+mn-ea"/>
                <a:cs typeface="+mn-cs"/>
              </a:rPr>
              <a:t>1636.638</a:t>
            </a:r>
          </a:p>
        </p:txBody>
      </p:sp>
      <p:sp>
        <p:nvSpPr>
          <p:cNvPr id="73" name="Pentagon 23">
            <a:extLst>
              <a:ext uri="{FF2B5EF4-FFF2-40B4-BE49-F238E27FC236}">
                <a16:creationId xmlns:a16="http://schemas.microsoft.com/office/drawing/2014/main" id="{FE7D642B-6EA4-41FA-9041-05B026BFC80E}"/>
              </a:ext>
            </a:extLst>
          </p:cNvPr>
          <p:cNvSpPr/>
          <p:nvPr/>
        </p:nvSpPr>
        <p:spPr>
          <a:xfrm>
            <a:off x="718860" y="5614379"/>
            <a:ext cx="567015" cy="497248"/>
          </a:xfrm>
          <a:prstGeom prst="homePlate">
            <a:avLst/>
          </a:prstGeom>
          <a:ln>
            <a:solidFill>
              <a:srgbClr val="005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3" tIns="71963" rIns="71963" bIns="71963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F092427-DD1A-4FB0-9BBC-F0ACB6CA7072}"/>
              </a:ext>
            </a:extLst>
          </p:cNvPr>
          <p:cNvSpPr txBox="1"/>
          <p:nvPr/>
        </p:nvSpPr>
        <p:spPr>
          <a:xfrm>
            <a:off x="736177" y="5695740"/>
            <a:ext cx="5042399" cy="345386"/>
          </a:xfrm>
          <a:prstGeom prst="rect">
            <a:avLst/>
          </a:prstGeom>
          <a:noFill/>
          <a:ln>
            <a:noFill/>
          </a:ln>
        </p:spPr>
        <p:txBody>
          <a:bodyPr wrap="square" lIns="71963" tIns="71963" rIns="71963" bIns="71963" rtlCol="0" anchor="t">
            <a:spAutoFit/>
          </a:bodyPr>
          <a:lstStyle/>
          <a:p>
            <a:pPr marL="454025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MSE of Item based is 220 more than User based mod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5FE48F-1D31-43AA-AA8A-92A31816CED7}"/>
              </a:ext>
            </a:extLst>
          </p:cNvPr>
          <p:cNvSpPr/>
          <p:nvPr/>
        </p:nvSpPr>
        <p:spPr>
          <a:xfrm>
            <a:off x="713220" y="5602722"/>
            <a:ext cx="5064990" cy="516081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4BCA0A4-F9D7-4158-8086-69531A353535}"/>
              </a:ext>
            </a:extLst>
          </p:cNvPr>
          <p:cNvSpPr txBox="1">
            <a:spLocks/>
          </p:cNvSpPr>
          <p:nvPr/>
        </p:nvSpPr>
        <p:spPr>
          <a:xfrm>
            <a:off x="574141" y="684545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ITEM BASED MODEL PERFORMS BETTER THAN USER BASED MODEL</a:t>
            </a:r>
          </a:p>
        </p:txBody>
      </p:sp>
      <p:sp>
        <p:nvSpPr>
          <p:cNvPr id="6" name="Rectangle 32">
            <a:extLst>
              <a:ext uri="{FF2B5EF4-FFF2-40B4-BE49-F238E27FC236}">
                <a16:creationId xmlns:a16="http://schemas.microsoft.com/office/drawing/2014/main" id="{3E7D8ECF-ED4D-494C-9AEE-2DCFB6C6A4E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2909" y="1428895"/>
            <a:ext cx="10981679" cy="4848793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sp>
        <p:nvSpPr>
          <p:cNvPr id="39" name="_AV_ImgBackup">
            <a:extLst>
              <a:ext uri="{FF2B5EF4-FFF2-40B4-BE49-F238E27FC236}">
                <a16:creationId xmlns:a16="http://schemas.microsoft.com/office/drawing/2014/main" id="{9CEB025D-5FFA-4ACA-99C4-E337D34B126E}"/>
              </a:ext>
            </a:extLst>
          </p:cNvPr>
          <p:cNvSpPr>
            <a:spLocks noChangeAspect="1" noChangeArrowheads="1"/>
          </p:cNvSpPr>
          <p:nvPr/>
        </p:nvSpPr>
        <p:spPr bwMode="auto">
          <a:xfrm rot="16200000">
            <a:off x="3032564" y="-701375"/>
            <a:ext cx="305501" cy="5084768"/>
          </a:xfrm>
          <a:prstGeom prst="flowChartDelay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vert" wrap="square" anchor="t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7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aimle cs"/>
              <a:ea typeface="+mn-ea"/>
              <a:cs typeface="+mn-cs"/>
            </a:endParaRPr>
          </a:p>
        </p:txBody>
      </p:sp>
      <p:sp>
        <p:nvSpPr>
          <p:cNvPr id="40" name="_AV_ImgBackup">
            <a:extLst>
              <a:ext uri="{FF2B5EF4-FFF2-40B4-BE49-F238E27FC236}">
                <a16:creationId xmlns:a16="http://schemas.microsoft.com/office/drawing/2014/main" id="{5CF1389B-3E72-4E94-A445-6E1E390FDC2F}"/>
              </a:ext>
            </a:extLst>
          </p:cNvPr>
          <p:cNvSpPr>
            <a:spLocks noChangeAspect="1" noChangeArrowheads="1"/>
          </p:cNvSpPr>
          <p:nvPr/>
        </p:nvSpPr>
        <p:spPr bwMode="auto">
          <a:xfrm rot="16200000">
            <a:off x="2943107" y="-493529"/>
            <a:ext cx="433310" cy="5084768"/>
          </a:xfrm>
          <a:prstGeom prst="flowChartDelay">
            <a:avLst/>
          </a:prstGeom>
          <a:solidFill>
            <a:schemeClr val="accent1"/>
          </a:solidFill>
          <a:ln w="9525">
            <a:solidFill>
              <a:schemeClr val="tx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" wrap="square" anchor="t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lidation Results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8992D26-7CBE-4263-B242-4B6105A353CD}"/>
              </a:ext>
            </a:extLst>
          </p:cNvPr>
          <p:cNvSpPr/>
          <p:nvPr/>
        </p:nvSpPr>
        <p:spPr>
          <a:xfrm>
            <a:off x="4827947" y="3739184"/>
            <a:ext cx="506631" cy="53979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4D85BE3-5F49-460F-835C-ED53FBEC0399}"/>
              </a:ext>
            </a:extLst>
          </p:cNvPr>
          <p:cNvSpPr txBox="1"/>
          <p:nvPr/>
        </p:nvSpPr>
        <p:spPr>
          <a:xfrm>
            <a:off x="4895871" y="3758189"/>
            <a:ext cx="530740" cy="576219"/>
          </a:xfrm>
          <a:prstGeom prst="rect">
            <a:avLst/>
          </a:prstGeom>
          <a:noFill/>
        </p:spPr>
        <p:txBody>
          <a:bodyPr wrap="square" lIns="71963" tIns="71963" rIns="71963" bIns="71963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aimler CS" pitchFamily="2" charset="0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Daimler CS" pitchFamily="2" charset="0"/>
              <a:ea typeface="+mn-ea"/>
              <a:cs typeface="+mn-cs"/>
            </a:endParaRP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616AFA89-C749-4DB5-BB49-4A7211F3DDDB}"/>
              </a:ext>
            </a:extLst>
          </p:cNvPr>
          <p:cNvSpPr txBox="1">
            <a:spLocks/>
          </p:cNvSpPr>
          <p:nvPr/>
        </p:nvSpPr>
        <p:spPr>
          <a:xfrm>
            <a:off x="-344983" y="6463879"/>
            <a:ext cx="12192000" cy="21600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													RIT | MS Data Science | Fall 2021 | DSCI 633 | Final Projec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E32BA7A-BC6D-4F63-AA27-6AA62E6232CA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40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FC108F5B-EBB7-445A-8FCA-D3AFD1FB34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5032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4BCA0A4-F9D7-4158-8086-69531A353535}"/>
              </a:ext>
            </a:extLst>
          </p:cNvPr>
          <p:cNvSpPr txBox="1">
            <a:spLocks/>
          </p:cNvSpPr>
          <p:nvPr/>
        </p:nvSpPr>
        <p:spPr>
          <a:xfrm>
            <a:off x="574141" y="684545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imler"/>
              <a:ea typeface="+mj-ea"/>
              <a:cs typeface="Arial"/>
              <a:sym typeface="Arial"/>
            </a:endParaRPr>
          </a:p>
        </p:txBody>
      </p:sp>
      <p:sp>
        <p:nvSpPr>
          <p:cNvPr id="6" name="Rectangle 32">
            <a:extLst>
              <a:ext uri="{FF2B5EF4-FFF2-40B4-BE49-F238E27FC236}">
                <a16:creationId xmlns:a16="http://schemas.microsoft.com/office/drawing/2014/main" id="{3E7D8ECF-ED4D-494C-9AEE-2DCFB6C6A4E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4489" y="1428895"/>
            <a:ext cx="10981679" cy="4848793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graphicFrame>
        <p:nvGraphicFramePr>
          <p:cNvPr id="18" name="Diagram 18">
            <a:extLst>
              <a:ext uri="{FF2B5EF4-FFF2-40B4-BE49-F238E27FC236}">
                <a16:creationId xmlns:a16="http://schemas.microsoft.com/office/drawing/2014/main" id="{ABFF8714-9A40-499C-9CA0-02919733A544}"/>
              </a:ext>
            </a:extLst>
          </p:cNvPr>
          <p:cNvGraphicFramePr/>
          <p:nvPr/>
        </p:nvGraphicFramePr>
        <p:xfrm>
          <a:off x="1018032" y="1558204"/>
          <a:ext cx="4572000" cy="46152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75" name="Rectangle 474">
            <a:extLst>
              <a:ext uri="{FF2B5EF4-FFF2-40B4-BE49-F238E27FC236}">
                <a16:creationId xmlns:a16="http://schemas.microsoft.com/office/drawing/2014/main" id="{611A6363-49FC-43D2-903D-24EC6915DF8C}"/>
              </a:ext>
            </a:extLst>
          </p:cNvPr>
          <p:cNvSpPr/>
          <p:nvPr/>
        </p:nvSpPr>
        <p:spPr>
          <a:xfrm>
            <a:off x="5913120" y="1510578"/>
            <a:ext cx="5388864" cy="993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MSE for the User based collaborative filtering is low when compar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5D538AB-DEB3-42D0-AD33-1CBF59E9A23D}"/>
              </a:ext>
            </a:extLst>
          </p:cNvPr>
          <p:cNvSpPr/>
          <p:nvPr/>
        </p:nvSpPr>
        <p:spPr>
          <a:xfrm>
            <a:off x="5909513" y="2713639"/>
            <a:ext cx="5388864" cy="993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llaborative filtering approach provides the best user experience as it is more personalized. And specifically, user based implementation is better because of its </a:t>
            </a:r>
            <a:r>
              <a:rPr kumimoji="0" lang="en-IN" sz="125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eater diversity</a:t>
            </a:r>
            <a:r>
              <a:rPr kumimoji="0" lang="en-US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6ACD1B-19BB-4C47-838D-64914CFB4956}"/>
              </a:ext>
            </a:extLst>
          </p:cNvPr>
          <p:cNvSpPr/>
          <p:nvPr/>
        </p:nvSpPr>
        <p:spPr>
          <a:xfrm>
            <a:off x="5911453" y="3941929"/>
            <a:ext cx="5388864" cy="993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arched and pre-processed datasets</a:t>
            </a:r>
          </a:p>
          <a:p>
            <a:pPr marL="171450" marR="0" lvl="0" indent="-17145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formed Exploratory Data Analysis on clean data</a:t>
            </a:r>
          </a:p>
          <a:p>
            <a:pPr marL="171450" marR="0" lvl="0" indent="-17145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d the problem statement based on EDA</a:t>
            </a:r>
          </a:p>
          <a:p>
            <a:pPr marL="171450" marR="0" lvl="0" indent="-17145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nderstood Content based and Memory based Collaborative Rec. Sys.</a:t>
            </a:r>
          </a:p>
          <a:p>
            <a:pPr marL="171450" marR="0" lvl="0" indent="-17145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mplemented above models by Python code and its librari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77C33A4-FDE2-4DB9-919E-FF6EC0E39384}"/>
              </a:ext>
            </a:extLst>
          </p:cNvPr>
          <p:cNvSpPr txBox="1">
            <a:spLocks/>
          </p:cNvSpPr>
          <p:nvPr/>
        </p:nvSpPr>
        <p:spPr>
          <a:xfrm>
            <a:off x="627412" y="719821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COLLABORATIVE FILTERING IS THE BEST RECOMMENDATION ENGIN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85C5C7-C866-460D-B6FB-04837B9D3548}"/>
              </a:ext>
            </a:extLst>
          </p:cNvPr>
          <p:cNvSpPr/>
          <p:nvPr/>
        </p:nvSpPr>
        <p:spPr>
          <a:xfrm>
            <a:off x="5909513" y="5205564"/>
            <a:ext cx="5388864" cy="993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mplementing Collaborative filtering with model based approach</a:t>
            </a:r>
          </a:p>
          <a:p>
            <a:pPr marL="171450" marR="0" lvl="0" indent="-17145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mplementing Collaborative filtering with Neural Networks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26515563-DCEB-4034-B957-BA7780FA781D}"/>
              </a:ext>
            </a:extLst>
          </p:cNvPr>
          <p:cNvSpPr txBox="1">
            <a:spLocks/>
          </p:cNvSpPr>
          <p:nvPr/>
        </p:nvSpPr>
        <p:spPr>
          <a:xfrm>
            <a:off x="-344983" y="6463879"/>
            <a:ext cx="12192000" cy="21600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													RIT | MS Data Science | Fall 2021 | DSCI 633 | Final Projec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AE6962-6A07-4800-A3F6-66A73390C846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41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A2739F-2F5D-4A40-8092-A027814777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27348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4BCA0A4-F9D7-4158-8086-69531A353535}"/>
              </a:ext>
            </a:extLst>
          </p:cNvPr>
          <p:cNvSpPr txBox="1">
            <a:spLocks/>
          </p:cNvSpPr>
          <p:nvPr/>
        </p:nvSpPr>
        <p:spPr>
          <a:xfrm>
            <a:off x="574141" y="684545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imler"/>
              <a:ea typeface="+mj-ea"/>
              <a:cs typeface="Arial"/>
              <a:sym typeface="Arial"/>
            </a:endParaRPr>
          </a:p>
        </p:txBody>
      </p:sp>
      <p:sp>
        <p:nvSpPr>
          <p:cNvPr id="6" name="Rectangle 32">
            <a:extLst>
              <a:ext uri="{FF2B5EF4-FFF2-40B4-BE49-F238E27FC236}">
                <a16:creationId xmlns:a16="http://schemas.microsoft.com/office/drawing/2014/main" id="{3E7D8ECF-ED4D-494C-9AEE-2DCFB6C6A4E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4489" y="1428895"/>
            <a:ext cx="10981679" cy="4848793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896" tIns="54448" rIns="108896" bIns="54448" anchor="ctr"/>
          <a:lstStyle>
            <a:lvl1pPr eaLnBrk="0" hangingPunct="0">
              <a:lnSpc>
                <a:spcPct val="108000"/>
              </a:lnSpc>
              <a:spcAft>
                <a:spcPct val="42000"/>
              </a:spcAft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ea typeface="+mn-ea"/>
              <a:cs typeface="Arial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77C33A4-FDE2-4DB9-919E-FF6EC0E39384}"/>
              </a:ext>
            </a:extLst>
          </p:cNvPr>
          <p:cNvSpPr txBox="1">
            <a:spLocks/>
          </p:cNvSpPr>
          <p:nvPr/>
        </p:nvSpPr>
        <p:spPr>
          <a:xfrm>
            <a:off x="627412" y="719821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Daimler"/>
              <a:ea typeface="+mj-ea"/>
              <a:cs typeface="Arial"/>
              <a:sym typeface="Arial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9793266-AE12-4D42-A2EB-B96BF8CBF053}"/>
              </a:ext>
            </a:extLst>
          </p:cNvPr>
          <p:cNvSpPr txBox="1">
            <a:spLocks/>
          </p:cNvSpPr>
          <p:nvPr/>
        </p:nvSpPr>
        <p:spPr>
          <a:xfrm>
            <a:off x="4700793" y="3289980"/>
            <a:ext cx="2737142" cy="60374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Thank You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18EA3E81-EB21-41A0-821E-F6F98F684379}"/>
              </a:ext>
            </a:extLst>
          </p:cNvPr>
          <p:cNvSpPr txBox="1">
            <a:spLocks/>
          </p:cNvSpPr>
          <p:nvPr/>
        </p:nvSpPr>
        <p:spPr>
          <a:xfrm>
            <a:off x="-344983" y="6463879"/>
            <a:ext cx="12192000" cy="21600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													RIT | MS Data Science | Fall 2021 | DSCI 633 | Final Projec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9BCE082-68E1-4264-9DE4-3D374093D09F}"/>
              </a:ext>
            </a:extLst>
          </p:cNvPr>
          <p:cNvSpPr txBox="1">
            <a:spLocks/>
          </p:cNvSpPr>
          <p:nvPr/>
        </p:nvSpPr>
        <p:spPr>
          <a:xfrm>
            <a:off x="779812" y="649269"/>
            <a:ext cx="10990447" cy="60374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END OF FINAL PROJEC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3E342DC-3131-48D0-8DBF-E26684FDC7AB}"/>
              </a:ext>
            </a:extLst>
          </p:cNvPr>
          <p:cNvSpPr txBox="1"/>
          <p:nvPr/>
        </p:nvSpPr>
        <p:spPr>
          <a:xfrm>
            <a:off x="7454941" y="4199187"/>
            <a:ext cx="41096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 Amit Dilip Kini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Ashini Anantharaman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Niranjana Sathish Avilery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Praveen Chandrasekaran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Vigneshwaran Ravichandra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2226BB-CFCB-48EE-952C-4A7E48268658}"/>
              </a:ext>
            </a:extLst>
          </p:cNvPr>
          <p:cNvSpPr txBox="1"/>
          <p:nvPr/>
        </p:nvSpPr>
        <p:spPr>
          <a:xfrm>
            <a:off x="11476827" y="257543"/>
            <a:ext cx="1241077" cy="2400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1200" dirty="0">
                <a:latin typeface="Georgia"/>
                <a:cs typeface="Georgia"/>
              </a:rPr>
              <a:t>|  </a:t>
            </a:r>
            <a:fld id="{606D2650-017B-BC48-A893-0334FE68CCF7}" type="slidenum">
              <a:rPr lang="en-US" sz="1133" smtClean="0"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80000"/>
                </a:lnSpc>
              </a:pPr>
              <a:t>42</a:t>
            </a:fld>
            <a:endParaRPr lang="en-US" sz="1133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1FA23E7-0EFC-47D5-AE1F-2E9ADFA45B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566" y="304811"/>
            <a:ext cx="2258261" cy="13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6965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58027D-695E-40AB-B369-D2A86E1BEB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5448" y="527698"/>
            <a:ext cx="11589952" cy="696384"/>
          </a:xfrm>
        </p:spPr>
        <p:txBody>
          <a:bodyPr/>
          <a:lstStyle/>
          <a:p>
            <a:pPr algn="ctr"/>
            <a:r>
              <a:rPr lang="en-US" sz="3700" dirty="0">
                <a:latin typeface="Arial" panose="020B0604020202020204" pitchFamily="34" charset="0"/>
                <a:cs typeface="Arial" panose="020B0604020202020204" pitchFamily="34" charset="0"/>
              </a:rPr>
              <a:t>DATA PRE-PROCESSING</a:t>
            </a:r>
            <a:endParaRPr lang="en-IN" sz="3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20685C-524D-4BA7-A8F6-C27652EC03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768" y="2146157"/>
            <a:ext cx="5136178" cy="440055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58A3EB6-7455-4E0A-B818-F974789250DC}"/>
              </a:ext>
            </a:extLst>
          </p:cNvPr>
          <p:cNvSpPr/>
          <p:nvPr/>
        </p:nvSpPr>
        <p:spPr>
          <a:xfrm>
            <a:off x="677767" y="1695434"/>
            <a:ext cx="4917816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No Missing Valu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75342E-CB2E-4EA6-A01D-9D90B998FD93}"/>
              </a:ext>
            </a:extLst>
          </p:cNvPr>
          <p:cNvSpPr/>
          <p:nvPr/>
        </p:nvSpPr>
        <p:spPr>
          <a:xfrm>
            <a:off x="5950424" y="1695433"/>
            <a:ext cx="5911613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The Merged Datafram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ECE51EB-AE70-4925-B34C-B1CDAD8191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3947" y="2768221"/>
            <a:ext cx="6277970" cy="12192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7B2CB02-7973-4160-9449-51CB221CEFC3}"/>
              </a:ext>
            </a:extLst>
          </p:cNvPr>
          <p:cNvSpPr txBox="1">
            <a:spLocks/>
          </p:cNvSpPr>
          <p:nvPr/>
        </p:nvSpPr>
        <p:spPr>
          <a:xfrm>
            <a:off x="0" y="6594265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en-GB" sz="1100" dirty="0">
                <a:solidFill>
                  <a:prstClr val="black"/>
                </a:solidFill>
              </a:rPr>
              <a:t>RIT | MS Data Science | Fall 2021 | DSCI 633 | Final Project</a:t>
            </a:r>
            <a:endParaRPr lang="en-US" sz="1100" b="0" dirty="0"/>
          </a:p>
          <a:p>
            <a:pPr algn="r" defTabSz="1088633"/>
            <a:endParaRPr lang="en-GB" sz="11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426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7261D8-FADA-447A-AD62-9D94311ADE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1024" y="610260"/>
            <a:ext cx="11589952" cy="696384"/>
          </a:xfrm>
        </p:spPr>
        <p:txBody>
          <a:bodyPr/>
          <a:lstStyle/>
          <a:p>
            <a:pPr algn="ctr"/>
            <a:r>
              <a:rPr lang="en-US" sz="3700" dirty="0">
                <a:latin typeface="Arial" panose="020B0604020202020204" pitchFamily="34" charset="0"/>
                <a:cs typeface="Arial" panose="020B0604020202020204" pitchFamily="34" charset="0"/>
              </a:rPr>
              <a:t>DATA PRE-PROCESSING CONTD…</a:t>
            </a:r>
            <a:endParaRPr lang="en-IN" sz="3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IN" sz="37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F917AE-83A5-42A4-BB31-3D8A4F4E93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590" y="1625039"/>
            <a:ext cx="6323321" cy="429030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6F649AD-AF5F-4C8A-8A07-358519A2BD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8943" y="1999397"/>
            <a:ext cx="5152030" cy="2286000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325B5766-F640-45E6-8273-8E21119ECDA1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en-GB" sz="1100" dirty="0">
                <a:solidFill>
                  <a:prstClr val="black"/>
                </a:solidFill>
              </a:rPr>
              <a:t>RIT | MS Data Science | Fall 2021 | DSCI 633 | Final Project</a:t>
            </a:r>
            <a:endParaRPr lang="en-US" sz="1100" b="0" dirty="0"/>
          </a:p>
          <a:p>
            <a:pPr algn="r" defTabSz="1088633"/>
            <a:endParaRPr lang="en-GB" sz="11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5946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52BDA34-143F-405C-BEC5-35C1EEF513D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90"/>
          <a:stretch/>
        </p:blipFill>
        <p:spPr>
          <a:xfrm>
            <a:off x="6372172" y="1569781"/>
            <a:ext cx="5337608" cy="37739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34A1D62-A864-4102-BF52-A2740052EC75}"/>
              </a:ext>
            </a:extLst>
          </p:cNvPr>
          <p:cNvSpPr/>
          <p:nvPr/>
        </p:nvSpPr>
        <p:spPr>
          <a:xfrm>
            <a:off x="326213" y="1569781"/>
            <a:ext cx="5337608" cy="399850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609256F-78EB-46C0-89D2-F9D00A219CCA}"/>
              </a:ext>
            </a:extLst>
          </p:cNvPr>
          <p:cNvSpPr txBox="1">
            <a:spLocks/>
          </p:cNvSpPr>
          <p:nvPr/>
        </p:nvSpPr>
        <p:spPr>
          <a:xfrm>
            <a:off x="0" y="564715"/>
            <a:ext cx="12192000" cy="603740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TYPES OF RECOMMENDATION SYSTEM MODEL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379F240-A9B6-481D-B597-468495791119}"/>
              </a:ext>
            </a:extLst>
          </p:cNvPr>
          <p:cNvSpPr/>
          <p:nvPr/>
        </p:nvSpPr>
        <p:spPr>
          <a:xfrm>
            <a:off x="1009934" y="2253117"/>
            <a:ext cx="4258103" cy="74953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>
              <a:lnSpc>
                <a:spcPct val="150000"/>
              </a:lnSpc>
            </a:pPr>
            <a:endParaRPr lang="en-US" sz="18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1"/>
                </a:solidFill>
              </a:rPr>
              <a:t>Content-based Filtering</a:t>
            </a:r>
          </a:p>
          <a:p>
            <a:endParaRPr lang="en-IN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38FCE03-630F-4211-A027-F82B590C896D}"/>
              </a:ext>
            </a:extLst>
          </p:cNvPr>
          <p:cNvSpPr/>
          <p:nvPr/>
        </p:nvSpPr>
        <p:spPr>
          <a:xfrm>
            <a:off x="1009933" y="3685985"/>
            <a:ext cx="4258103" cy="74953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dirty="0">
                <a:solidFill>
                  <a:schemeClr val="tx1"/>
                </a:solidFill>
              </a:rPr>
              <a:t>Collaborative Filtering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34B3AC6-EEB9-4371-95BC-8D7812007161}"/>
              </a:ext>
            </a:extLst>
          </p:cNvPr>
          <p:cNvCxnSpPr>
            <a:cxnSpLocks/>
          </p:cNvCxnSpPr>
          <p:nvPr/>
        </p:nvCxnSpPr>
        <p:spPr>
          <a:xfrm>
            <a:off x="5424043" y="2634018"/>
            <a:ext cx="791571" cy="5322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E383A48-DB66-4011-ADF0-69AA638BFAAE}"/>
              </a:ext>
            </a:extLst>
          </p:cNvPr>
          <p:cNvCxnSpPr>
            <a:cxnSpLocks/>
          </p:cNvCxnSpPr>
          <p:nvPr/>
        </p:nvCxnSpPr>
        <p:spPr>
          <a:xfrm flipV="1">
            <a:off x="5454750" y="3576400"/>
            <a:ext cx="730156" cy="4843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1DBF65D-1131-4922-86F0-4DDF689E4174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en-GB" sz="1100" dirty="0">
                <a:solidFill>
                  <a:prstClr val="black"/>
                </a:solidFill>
              </a:rPr>
              <a:t>RIT | MS Data Science | Fall 2021 | DSCI 633 | Final Project</a:t>
            </a:r>
            <a:endParaRPr lang="en-US" sz="1100" b="0" dirty="0"/>
          </a:p>
          <a:p>
            <a:pPr algn="r" defTabSz="1088633"/>
            <a:endParaRPr lang="en-GB" sz="11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8113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3FD3BD5-0D89-4388-BF99-C1FCE463A08D}"/>
              </a:ext>
            </a:extLst>
          </p:cNvPr>
          <p:cNvSpPr txBox="1">
            <a:spLocks/>
          </p:cNvSpPr>
          <p:nvPr/>
        </p:nvSpPr>
        <p:spPr>
          <a:xfrm>
            <a:off x="257454" y="551436"/>
            <a:ext cx="11558626" cy="60374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OP QUESTIONS FROM BRAINSTORMING</a:t>
            </a:r>
            <a:endParaRPr kumimoji="0" lang="en-IN" sz="4000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B93CA103-2187-43D8-AD54-E39BE28D198C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7380240-BCD8-4B2A-AB05-9F40211D0796}"/>
              </a:ext>
            </a:extLst>
          </p:cNvPr>
          <p:cNvSpPr txBox="1"/>
          <p:nvPr/>
        </p:nvSpPr>
        <p:spPr>
          <a:xfrm>
            <a:off x="337350" y="1358283"/>
            <a:ext cx="11552347" cy="5095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 science fiction movies tend to be rated more highly than other movie genres?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ich genres were more dominant in each decade of the range available in the dataset?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 there a correlation between the year of release of a movie and the genre?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are the top 10 most rated movies?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are the most popular Movie Genres among Males and Females?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are the Max/Min number of Movies rated by One user?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Genre is associated with the most Movies?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are the Distribution of Ratings per Genre?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st common occupation amongst the users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’s the Age Distribution by Gender?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vies are rated on a 1-5 scale. What is the average movie rating? 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ow many of the users are artists or belong to or closely related to the film industry?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is the zip code of the user who rated the most movies?</a:t>
            </a:r>
          </a:p>
          <a:p>
            <a:pPr marL="285750" marR="0" lvl="0" indent="-285750" algn="l" defTabSz="609585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interesting stories using the data i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vielen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taset you would like to tell a studio executive/movie producer?</a:t>
            </a:r>
          </a:p>
        </p:txBody>
      </p:sp>
    </p:spTree>
    <p:extLst>
      <p:ext uri="{BB962C8B-B14F-4D97-AF65-F5344CB8AC3E}">
        <p14:creationId xmlns:p14="http://schemas.microsoft.com/office/powerpoint/2010/main" val="8921747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D7F436-815A-4BC8-8E72-31AD0442CAF8}"/>
              </a:ext>
            </a:extLst>
          </p:cNvPr>
          <p:cNvSpPr/>
          <p:nvPr/>
        </p:nvSpPr>
        <p:spPr>
          <a:xfrm>
            <a:off x="798384" y="1308281"/>
            <a:ext cx="4419600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tings Distribut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3F7DC83-09F9-42A9-AC65-5C317B72D2AF}"/>
              </a:ext>
            </a:extLst>
          </p:cNvPr>
          <p:cNvCxnSpPr/>
          <p:nvPr/>
        </p:nvCxnSpPr>
        <p:spPr bwMode="auto">
          <a:xfrm flipH="1">
            <a:off x="6096000" y="1310018"/>
            <a:ext cx="1" cy="5156454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B12EBD-536C-4D0C-8F29-8EC3AC6D6412}"/>
              </a:ext>
            </a:extLst>
          </p:cNvPr>
          <p:cNvCxnSpPr/>
          <p:nvPr/>
        </p:nvCxnSpPr>
        <p:spPr bwMode="auto">
          <a:xfrm>
            <a:off x="257454" y="3879192"/>
            <a:ext cx="11675046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294A0823-E4E0-4216-8761-00D3149C09F7}"/>
              </a:ext>
            </a:extLst>
          </p:cNvPr>
          <p:cNvSpPr/>
          <p:nvPr/>
        </p:nvSpPr>
        <p:spPr>
          <a:xfrm>
            <a:off x="798383" y="3976291"/>
            <a:ext cx="4416552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re preferenc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2D78D3C-5C74-4AC4-95E3-44AD7CDBED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454" y="3968986"/>
            <a:ext cx="411480" cy="4114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7FC4FEA-D48E-4A21-B1A9-27CABFBC0E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6514" y="1308091"/>
            <a:ext cx="411480" cy="41148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DB62D45-2372-4717-9FBA-0EEEE554F02B}"/>
              </a:ext>
            </a:extLst>
          </p:cNvPr>
          <p:cNvSpPr/>
          <p:nvPr/>
        </p:nvSpPr>
        <p:spPr>
          <a:xfrm>
            <a:off x="7507416" y="1299146"/>
            <a:ext cx="4419600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 - I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49C7D2-DBD9-4E9D-B728-5908AB0C211E}"/>
              </a:ext>
            </a:extLst>
          </p:cNvPr>
          <p:cNvSpPr/>
          <p:nvPr/>
        </p:nvSpPr>
        <p:spPr>
          <a:xfrm>
            <a:off x="6956514" y="1822941"/>
            <a:ext cx="4970502" cy="195403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ender are not equally distributed among the two categories.</a:t>
            </a:r>
          </a:p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t can be inferred that most of the ratings were given by the male category (75%). </a:t>
            </a:r>
          </a:p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 is the most common rating given by both genders.</a:t>
            </a:r>
          </a:p>
          <a:p>
            <a:pPr marL="171450" marR="0" lvl="0" indent="-171450" algn="just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nce fewer females rated these movies, the ratings data could be biased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EE4A11C-9A7C-4DCD-A883-54F6E693EEC0}"/>
              </a:ext>
            </a:extLst>
          </p:cNvPr>
          <p:cNvSpPr/>
          <p:nvPr/>
        </p:nvSpPr>
        <p:spPr>
          <a:xfrm>
            <a:off x="7512900" y="3989657"/>
            <a:ext cx="4419600" cy="410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ervation - II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5CA25A-E2BF-4A55-A5F2-1616DEF3E2AF}"/>
              </a:ext>
            </a:extLst>
          </p:cNvPr>
          <p:cNvSpPr/>
          <p:nvPr/>
        </p:nvSpPr>
        <p:spPr>
          <a:xfrm>
            <a:off x="6961998" y="4563052"/>
            <a:ext cx="4970502" cy="186721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le most rated movie is Comedy and second most rated is Drama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male most rated movie is Drama and second most rated is Comedy.</a:t>
            </a:r>
          </a:p>
          <a:p>
            <a:pPr marL="171450" marR="0" lvl="0" indent="-171450" algn="l" defTabSz="60958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 the least choice it was similar for both the gender which is Documentary and film noir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3FD3BD5-0D89-4388-BF99-C1FCE463A08D}"/>
              </a:ext>
            </a:extLst>
          </p:cNvPr>
          <p:cNvSpPr txBox="1">
            <a:spLocks/>
          </p:cNvSpPr>
          <p:nvPr/>
        </p:nvSpPr>
        <p:spPr>
          <a:xfrm>
            <a:off x="257454" y="551436"/>
            <a:ext cx="11558626" cy="60374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457189" indent="-457189" algn="l" defTabSz="609585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Char char="•"/>
              <a:defRPr sz="3700" b="1" kern="12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669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ENDER ANALYSIS</a:t>
            </a:r>
            <a:endParaRPr kumimoji="0" lang="en-IN" sz="4000" b="1" i="0" u="none" strike="noStrike" kern="1200" cap="none" spc="0" normalizeH="0" baseline="0" noProof="0" dirty="0">
              <a:ln>
                <a:noFill/>
              </a:ln>
              <a:solidFill>
                <a:srgbClr val="F669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BD397A6-32FF-4C7A-ACAB-4D30524941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484" y="4500331"/>
            <a:ext cx="4024348" cy="198573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8A4DE2F-2EB1-4FA9-8BC3-E4B2E11526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4984" y="1310018"/>
            <a:ext cx="403950" cy="39314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594693A-0816-4B5D-83D5-A02E0AB5F7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948" y="3998468"/>
            <a:ext cx="411480" cy="41148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B93CA103-2187-43D8-AD54-E39BE28D198C}"/>
              </a:ext>
            </a:extLst>
          </p:cNvPr>
          <p:cNvSpPr txBox="1">
            <a:spLocks/>
          </p:cNvSpPr>
          <p:nvPr/>
        </p:nvSpPr>
        <p:spPr>
          <a:xfrm>
            <a:off x="0" y="6580617"/>
            <a:ext cx="11889698" cy="20178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60958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1219169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82875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243833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3047924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3657508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4267093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4876677" algn="l" defTabSz="60958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60958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IT | MS Data Science | Fall 2021 | DSCI 633 | Final Projec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r" defTabSz="108863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0AECC9-84B5-4C48-B2D1-282E675B19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3289" y="1788207"/>
            <a:ext cx="3985543" cy="200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38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jTny_Dk.lvvRVqaMZ9A"/>
</p:tagLst>
</file>

<file path=ppt/theme/theme1.xml><?xml version="1.0" encoding="utf-8"?>
<a:theme xmlns:a="http://schemas.openxmlformats.org/drawingml/2006/main" name="RIT">
  <a:themeElements>
    <a:clrScheme name="RIT">
      <a:dk1>
        <a:srgbClr val="000000"/>
      </a:dk1>
      <a:lt1>
        <a:srgbClr val="FFFFFF"/>
      </a:lt1>
      <a:dk2>
        <a:srgbClr val="6F706F"/>
      </a:dk2>
      <a:lt2>
        <a:srgbClr val="E7E6E6"/>
      </a:lt2>
      <a:accent1>
        <a:srgbClr val="F66900"/>
      </a:accent1>
      <a:accent2>
        <a:srgbClr val="F6BD00"/>
      </a:accent2>
      <a:accent3>
        <a:srgbClr val="C4D500"/>
      </a:accent3>
      <a:accent4>
        <a:srgbClr val="009CBD"/>
      </a:accent4>
      <a:accent5>
        <a:srgbClr val="7D54C7"/>
      </a:accent5>
      <a:accent6>
        <a:srgbClr val="70AD47"/>
      </a:accent6>
      <a:hlink>
        <a:srgbClr val="D64900"/>
      </a:hlink>
      <a:folHlink>
        <a:srgbClr val="71747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EC69A2E5-777A-D546-BEBA-9047755E5D70}" vid="{4CD7AFB5-33E4-F44D-9CF3-F59B1DFFA225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RIT">
  <a:themeElements>
    <a:clrScheme name="RIT">
      <a:dk1>
        <a:srgbClr val="000000"/>
      </a:dk1>
      <a:lt1>
        <a:srgbClr val="FFFFFF"/>
      </a:lt1>
      <a:dk2>
        <a:srgbClr val="6F706F"/>
      </a:dk2>
      <a:lt2>
        <a:srgbClr val="E7E6E6"/>
      </a:lt2>
      <a:accent1>
        <a:srgbClr val="F66900"/>
      </a:accent1>
      <a:accent2>
        <a:srgbClr val="F6BD00"/>
      </a:accent2>
      <a:accent3>
        <a:srgbClr val="C4D500"/>
      </a:accent3>
      <a:accent4>
        <a:srgbClr val="009CBD"/>
      </a:accent4>
      <a:accent5>
        <a:srgbClr val="7D54C7"/>
      </a:accent5>
      <a:accent6>
        <a:srgbClr val="70AD47"/>
      </a:accent6>
      <a:hlink>
        <a:srgbClr val="D64900"/>
      </a:hlink>
      <a:folHlink>
        <a:srgbClr val="71747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EC69A2E5-777A-D546-BEBA-9047755E5D70}" vid="{4CD7AFB5-33E4-F44D-9CF3-F59B1DFFA225}"/>
    </a:ext>
  </a:extLst>
</a:theme>
</file>

<file path=ppt/theme/theme5.xml><?xml version="1.0" encoding="utf-8"?>
<a:theme xmlns:a="http://schemas.openxmlformats.org/drawingml/2006/main" name="2_RIT">
  <a:themeElements>
    <a:clrScheme name="RIT">
      <a:dk1>
        <a:srgbClr val="000000"/>
      </a:dk1>
      <a:lt1>
        <a:srgbClr val="FFFFFF"/>
      </a:lt1>
      <a:dk2>
        <a:srgbClr val="6F706F"/>
      </a:dk2>
      <a:lt2>
        <a:srgbClr val="E7E6E6"/>
      </a:lt2>
      <a:accent1>
        <a:srgbClr val="F66900"/>
      </a:accent1>
      <a:accent2>
        <a:srgbClr val="F6BD00"/>
      </a:accent2>
      <a:accent3>
        <a:srgbClr val="C4D500"/>
      </a:accent3>
      <a:accent4>
        <a:srgbClr val="009CBD"/>
      </a:accent4>
      <a:accent5>
        <a:srgbClr val="7D54C7"/>
      </a:accent5>
      <a:accent6>
        <a:srgbClr val="70AD47"/>
      </a:accent6>
      <a:hlink>
        <a:srgbClr val="D64900"/>
      </a:hlink>
      <a:folHlink>
        <a:srgbClr val="71747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EC69A2E5-777A-D546-BEBA-9047755E5D70}" vid="{4CD7AFB5-33E4-F44D-9CF3-F59B1DFFA225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7</TotalTime>
  <Words>3683</Words>
  <Application>Microsoft Office PowerPoint</Application>
  <PresentationFormat>Widescreen</PresentationFormat>
  <Paragraphs>544</Paragraphs>
  <Slides>4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5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42</vt:i4>
      </vt:variant>
    </vt:vector>
  </HeadingPairs>
  <TitlesOfParts>
    <vt:vector size="62" baseType="lpstr">
      <vt:lpstr>MS Gothic</vt:lpstr>
      <vt:lpstr>-apple-system</vt:lpstr>
      <vt:lpstr>Arial</vt:lpstr>
      <vt:lpstr>Calibri</vt:lpstr>
      <vt:lpstr>Calibri Light</vt:lpstr>
      <vt:lpstr>charter</vt:lpstr>
      <vt:lpstr>CorpoS</vt:lpstr>
      <vt:lpstr>Daimle cs</vt:lpstr>
      <vt:lpstr>Daimler</vt:lpstr>
      <vt:lpstr>Daimler CS</vt:lpstr>
      <vt:lpstr>Georgia</vt:lpstr>
      <vt:lpstr>Lato</vt:lpstr>
      <vt:lpstr>Roboto</vt:lpstr>
      <vt:lpstr>System Font Regular</vt:lpstr>
      <vt:lpstr>Wingdings</vt:lpstr>
      <vt:lpstr>RIT</vt:lpstr>
      <vt:lpstr>Custom Design</vt:lpstr>
      <vt:lpstr>Office Theme</vt:lpstr>
      <vt:lpstr>1_RIT</vt:lpstr>
      <vt:lpstr>2_RI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ILD ITEM PROFILE</vt:lpstr>
      <vt:lpstr>TF – IDF SCORE FOR GENRES</vt:lpstr>
      <vt:lpstr>CALCULATE SIMILARITY </vt:lpstr>
      <vt:lpstr>FINAL RECOMMEDATIONS MA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ranjana Sathish</dc:creator>
  <cp:lastModifiedBy>Kini Amit</cp:lastModifiedBy>
  <cp:revision>294</cp:revision>
  <cp:lastPrinted>2018-04-25T02:50:23Z</cp:lastPrinted>
  <dcterms:created xsi:type="dcterms:W3CDTF">2021-11-25T01:40:59Z</dcterms:created>
  <dcterms:modified xsi:type="dcterms:W3CDTF">2021-12-07T06:03:08Z</dcterms:modified>
</cp:coreProperties>
</file>